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42.xml" ContentType="application/vnd.openxmlformats-officedocument.theme+xml"/>
  <Override PartName="/ppt/slideLayouts/slideLayout321.xml" ContentType="application/vnd.openxmlformats-officedocument.presentationml.slideLayout+xml"/>
  <Override PartName="/ppt/theme/theme43.xml" ContentType="application/vnd.openxmlformats-officedocument.theme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3747" r:id="rId42"/>
    <p:sldMasterId id="2147484074" r:id="rId43"/>
    <p:sldMasterId id="2147484081" r:id="rId44"/>
  </p:sldMasterIdLst>
  <p:notesMasterIdLst>
    <p:notesMasterId r:id="rId84"/>
  </p:notesMasterIdLst>
  <p:handoutMasterIdLst>
    <p:handoutMasterId r:id="rId85"/>
  </p:handoutMasterIdLst>
  <p:sldIdLst>
    <p:sldId id="480" r:id="rId45"/>
    <p:sldId id="416" r:id="rId46"/>
    <p:sldId id="489" r:id="rId47"/>
    <p:sldId id="454" r:id="rId48"/>
    <p:sldId id="488" r:id="rId49"/>
    <p:sldId id="487" r:id="rId50"/>
    <p:sldId id="492" r:id="rId51"/>
    <p:sldId id="493" r:id="rId52"/>
    <p:sldId id="494" r:id="rId53"/>
    <p:sldId id="495" r:id="rId54"/>
    <p:sldId id="458" r:id="rId55"/>
    <p:sldId id="491" r:id="rId56"/>
    <p:sldId id="440" r:id="rId57"/>
    <p:sldId id="471" r:id="rId58"/>
    <p:sldId id="490" r:id="rId59"/>
    <p:sldId id="499" r:id="rId60"/>
    <p:sldId id="481" r:id="rId61"/>
    <p:sldId id="474" r:id="rId62"/>
    <p:sldId id="478" r:id="rId63"/>
    <p:sldId id="496" r:id="rId64"/>
    <p:sldId id="497" r:id="rId65"/>
    <p:sldId id="498" r:id="rId66"/>
    <p:sldId id="464" r:id="rId67"/>
    <p:sldId id="465" r:id="rId68"/>
    <p:sldId id="500" r:id="rId69"/>
    <p:sldId id="501" r:id="rId70"/>
    <p:sldId id="456" r:id="rId71"/>
    <p:sldId id="502" r:id="rId72"/>
    <p:sldId id="466" r:id="rId73"/>
    <p:sldId id="469" r:id="rId74"/>
    <p:sldId id="449" r:id="rId75"/>
    <p:sldId id="448" r:id="rId76"/>
    <p:sldId id="482" r:id="rId77"/>
    <p:sldId id="483" r:id="rId78"/>
    <p:sldId id="463" r:id="rId79"/>
    <p:sldId id="422" r:id="rId80"/>
    <p:sldId id="503" r:id="rId81"/>
    <p:sldId id="485" r:id="rId82"/>
    <p:sldId id="484" r:id="rId83"/>
  </p:sldIdLst>
  <p:sldSz cx="9144000" cy="6858000" type="screen4x3"/>
  <p:notesSz cx="6797675" cy="9926638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5" autoAdjust="0"/>
    <p:restoredTop sz="94668" autoAdjust="0"/>
  </p:normalViewPr>
  <p:slideViewPr>
    <p:cSldViewPr>
      <p:cViewPr varScale="1">
        <p:scale>
          <a:sx n="110" d="100"/>
          <a:sy n="110" d="100"/>
        </p:scale>
        <p:origin x="126" y="4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63" Type="http://schemas.openxmlformats.org/officeDocument/2006/relationships/slide" Target="slides/slide19.xml"/><Relationship Id="rId68" Type="http://schemas.openxmlformats.org/officeDocument/2006/relationships/slide" Target="slides/slide24.xml"/><Relationship Id="rId84" Type="http://schemas.openxmlformats.org/officeDocument/2006/relationships/notesMaster" Target="notesMasters/notesMaster1.xml"/><Relationship Id="rId89" Type="http://schemas.openxmlformats.org/officeDocument/2006/relationships/theme" Target="theme/theme1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" Target="slides/slide9.xml"/><Relationship Id="rId58" Type="http://schemas.openxmlformats.org/officeDocument/2006/relationships/slide" Target="slides/slide14.xml"/><Relationship Id="rId74" Type="http://schemas.openxmlformats.org/officeDocument/2006/relationships/slide" Target="slides/slide30.xml"/><Relationship Id="rId79" Type="http://schemas.openxmlformats.org/officeDocument/2006/relationships/slide" Target="slides/slide35.xml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slide" Target="slides/slide12.xml"/><Relationship Id="rId64" Type="http://schemas.openxmlformats.org/officeDocument/2006/relationships/slide" Target="slides/slide20.xml"/><Relationship Id="rId69" Type="http://schemas.openxmlformats.org/officeDocument/2006/relationships/slide" Target="slides/slide25.xml"/><Relationship Id="rId77" Type="http://schemas.openxmlformats.org/officeDocument/2006/relationships/slide" Target="slides/slide33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72" Type="http://schemas.openxmlformats.org/officeDocument/2006/relationships/slide" Target="slides/slide28.xml"/><Relationship Id="rId80" Type="http://schemas.openxmlformats.org/officeDocument/2006/relationships/slide" Target="slides/slide36.xml"/><Relationship Id="rId85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slide" Target="slides/slide15.xml"/><Relationship Id="rId67" Type="http://schemas.openxmlformats.org/officeDocument/2006/relationships/slide" Target="slides/slide23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0.xml"/><Relationship Id="rId62" Type="http://schemas.openxmlformats.org/officeDocument/2006/relationships/slide" Target="slides/slide18.xml"/><Relationship Id="rId70" Type="http://schemas.openxmlformats.org/officeDocument/2006/relationships/slide" Target="slides/slide26.xml"/><Relationship Id="rId75" Type="http://schemas.openxmlformats.org/officeDocument/2006/relationships/slide" Target="slides/slide31.xml"/><Relationship Id="rId83" Type="http://schemas.openxmlformats.org/officeDocument/2006/relationships/slide" Target="slides/slide39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slide" Target="slides/slide13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slide" Target="slides/slide16.xml"/><Relationship Id="rId65" Type="http://schemas.openxmlformats.org/officeDocument/2006/relationships/slide" Target="slides/slide21.xml"/><Relationship Id="rId73" Type="http://schemas.openxmlformats.org/officeDocument/2006/relationships/slide" Target="slides/slide29.xml"/><Relationship Id="rId78" Type="http://schemas.openxmlformats.org/officeDocument/2006/relationships/slide" Target="slides/slide34.xml"/><Relationship Id="rId81" Type="http://schemas.openxmlformats.org/officeDocument/2006/relationships/slide" Target="slides/slide37.xml"/><Relationship Id="rId86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" Target="slides/slide6.xml"/><Relationship Id="rId55" Type="http://schemas.openxmlformats.org/officeDocument/2006/relationships/slide" Target="slides/slide11.xml"/><Relationship Id="rId76" Type="http://schemas.openxmlformats.org/officeDocument/2006/relationships/slide" Target="slides/slide32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27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66" Type="http://schemas.openxmlformats.org/officeDocument/2006/relationships/slide" Target="slides/slide22.xml"/><Relationship Id="rId87" Type="http://schemas.openxmlformats.org/officeDocument/2006/relationships/presProps" Target="presProps.xml"/><Relationship Id="rId61" Type="http://schemas.openxmlformats.org/officeDocument/2006/relationships/slide" Target="slides/slide17.xml"/><Relationship Id="rId82" Type="http://schemas.openxmlformats.org/officeDocument/2006/relationships/slide" Target="slides/slide38.xml"/><Relationship Id="rId19" Type="http://schemas.openxmlformats.org/officeDocument/2006/relationships/slideMaster" Target="slideMasters/slideMaster1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Arkusz_programu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pl-PL" sz="1200">
                <a:solidFill>
                  <a:schemeClr val="tx1"/>
                </a:solidFill>
              </a:rPr>
              <a:t>Formy realizacji operacji (liczba)</a:t>
            </a:r>
            <a:endParaRPr lang="en-US" sz="120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15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0.29125839146258614"/>
          <c:y val="0.2502307184806799"/>
          <c:w val="0.44980608355341856"/>
          <c:h val="0.74450488202897458"/>
        </c:manualLayout>
      </c:layout>
      <c:pieChart>
        <c:varyColors val="1"/>
        <c:ser>
          <c:idx val="0"/>
          <c:order val="0"/>
          <c:tx>
            <c:strRef>
              <c:f>Arkusz1!$L$15</c:f>
              <c:strCache>
                <c:ptCount val="1"/>
                <c:pt idx="0">
                  <c:v>liczba projektów</c:v>
                </c:pt>
              </c:strCache>
            </c:strRef>
          </c:tx>
          <c:dPt>
            <c:idx val="0"/>
            <c:bubble3D val="0"/>
            <c:spPr>
              <a:pattFill prst="ltUpDiag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ln w="19050">
                <a:solidFill>
                  <a:schemeClr val="lt1"/>
                </a:solidFill>
              </a:ln>
              <a:effectLst>
                <a:innerShdw blurRad="114300">
                  <a:schemeClr val="accent1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E1C6-456D-94A1-F3DE1DD45889}"/>
              </c:ext>
            </c:extLst>
          </c:dPt>
          <c:dPt>
            <c:idx val="1"/>
            <c:bubble3D val="0"/>
            <c:spPr>
              <a:pattFill prst="ltUpDiag">
                <a:fgClr>
                  <a:schemeClr val="accent2"/>
                </a:fgClr>
                <a:bgClr>
                  <a:schemeClr val="accent2">
                    <a:lumMod val="20000"/>
                    <a:lumOff val="80000"/>
                  </a:schemeClr>
                </a:bgClr>
              </a:pattFill>
              <a:ln w="19050">
                <a:solidFill>
                  <a:schemeClr val="lt1"/>
                </a:solidFill>
              </a:ln>
              <a:effectLst>
                <a:innerShdw blurRad="114300">
                  <a:schemeClr val="accent2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E1C6-456D-94A1-F3DE1DD45889}"/>
              </c:ext>
            </c:extLst>
          </c:dPt>
          <c:dPt>
            <c:idx val="2"/>
            <c:bubble3D val="0"/>
            <c:spPr>
              <a:pattFill prst="ltUpDiag">
                <a:fgClr>
                  <a:schemeClr val="accent3"/>
                </a:fgClr>
                <a:bgClr>
                  <a:schemeClr val="accent3">
                    <a:lumMod val="20000"/>
                    <a:lumOff val="80000"/>
                  </a:schemeClr>
                </a:bgClr>
              </a:pattFill>
              <a:ln w="19050">
                <a:solidFill>
                  <a:schemeClr val="lt1"/>
                </a:solidFill>
              </a:ln>
              <a:effectLst>
                <a:innerShdw blurRad="114300">
                  <a:schemeClr val="accent3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E1C6-456D-94A1-F3DE1DD45889}"/>
              </c:ext>
            </c:extLst>
          </c:dPt>
          <c:dPt>
            <c:idx val="3"/>
            <c:bubble3D val="0"/>
            <c:spPr>
              <a:pattFill prst="ltUpDiag">
                <a:fgClr>
                  <a:schemeClr val="accent4"/>
                </a:fgClr>
                <a:bgClr>
                  <a:schemeClr val="accent4">
                    <a:lumMod val="20000"/>
                    <a:lumOff val="80000"/>
                  </a:schemeClr>
                </a:bgClr>
              </a:pattFill>
              <a:ln w="19050">
                <a:solidFill>
                  <a:schemeClr val="lt1"/>
                </a:solidFill>
              </a:ln>
              <a:effectLst>
                <a:innerShdw blurRad="114300">
                  <a:schemeClr val="accent4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7-E1C6-456D-94A1-F3DE1DD458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Arkusz1!$K$16:$K$19</c:f>
              <c:strCache>
                <c:ptCount val="4"/>
                <c:pt idx="0">
                  <c:v>wyjazdy studyjne</c:v>
                </c:pt>
                <c:pt idx="1">
                  <c:v>szkolenia</c:v>
                </c:pt>
                <c:pt idx="2">
                  <c:v>kilka form realizacji</c:v>
                </c:pt>
                <c:pt idx="3">
                  <c:v>badania</c:v>
                </c:pt>
              </c:strCache>
            </c:strRef>
          </c:cat>
          <c:val>
            <c:numRef>
              <c:f>Arkusz1!$L$16:$L$19</c:f>
              <c:numCache>
                <c:formatCode>General</c:formatCode>
                <c:ptCount val="4"/>
                <c:pt idx="0">
                  <c:v>6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C6-456D-94A1-F3DE1DD458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ltUpDiag">
        <a:fgClr>
          <a:schemeClr val="phClr"/>
        </a:fgClr>
        <a:bgClr>
          <a:schemeClr val="phClr">
            <a:lumMod val="20000"/>
            <a:lumOff val="80000"/>
          </a:schemeClr>
        </a:bgClr>
      </a:pattFill>
      <a:ln w="19050">
        <a:solidFill>
          <a:schemeClr val="lt1"/>
        </a:solidFill>
      </a:ln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phClr">
            <a:lumMod val="20000"/>
            <a:lumOff val="80000"/>
          </a:schemeClr>
        </a:bgClr>
      </a:pattFill>
      <a:ln w="19050">
        <a:solidFill>
          <a:schemeClr val="lt1"/>
        </a:solidFill>
      </a:ln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D57DEC-A8C2-410D-A8C4-B9C29440396F}" type="doc">
      <dgm:prSet loTypeId="urn:microsoft.com/office/officeart/2005/8/layout/bProcess3" loCatId="process" qsTypeId="urn:microsoft.com/office/officeart/2005/8/quickstyle/simple5" qsCatId="simple" csTypeId="urn:microsoft.com/office/officeart/2005/8/colors/accent5_4" csCatId="accent5" phldr="1"/>
      <dgm:spPr/>
      <dgm:t>
        <a:bodyPr/>
        <a:lstStyle/>
        <a:p>
          <a:endParaRPr lang="pl-PL"/>
        </a:p>
      </dgm:t>
    </dgm:pt>
    <dgm:pt modelId="{B4DF6667-2865-4EC1-8A11-1402C719BDE8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Ogłoszenie o konkursie</a:t>
          </a:r>
          <a:endParaRPr lang="pl-PL" dirty="0">
            <a:solidFill>
              <a:schemeClr val="tx1"/>
            </a:solidFill>
          </a:endParaRPr>
        </a:p>
      </dgm:t>
    </dgm:pt>
    <dgm:pt modelId="{B86A9912-8430-45C6-93E1-852EA43E7FF7}" type="parTrans" cxnId="{53B7B7DE-382B-42A8-B67D-90A96DC2E454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CC3DA6CE-EBB9-41CC-82F7-FBF0D78ACB8F}" type="sibTrans" cxnId="{53B7B7DE-382B-42A8-B67D-90A96DC2E454}">
      <dgm:prSet/>
      <dgm:spPr>
        <a:ln>
          <a:solidFill>
            <a:schemeClr val="tx1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478A2829-4BC6-4BDF-8A35-BFB4A05DFE77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Nabór wniosków w konkursie na zasadach określonych przez </a:t>
          </a:r>
          <a:r>
            <a:rPr lang="pl-PL" dirty="0" err="1" smtClean="0">
              <a:solidFill>
                <a:schemeClr val="tx1"/>
              </a:solidFill>
            </a:rPr>
            <a:t>MRiRW</a:t>
          </a:r>
          <a:endParaRPr lang="pl-PL" dirty="0">
            <a:solidFill>
              <a:schemeClr val="tx1"/>
            </a:solidFill>
          </a:endParaRPr>
        </a:p>
      </dgm:t>
    </dgm:pt>
    <dgm:pt modelId="{CDAC9BA4-A8E8-4D53-8D46-3AF1A4551BF3}" type="parTrans" cxnId="{405558BB-9608-404C-ABF9-EBA795109CF1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FFA04D0E-FA8B-47ED-B10B-11CDF03823F7}" type="sibTrans" cxnId="{405558BB-9608-404C-ABF9-EBA795109CF1}">
      <dgm:prSet/>
      <dgm:spPr>
        <a:ln>
          <a:solidFill>
            <a:schemeClr val="tx2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876C38B3-2AA3-4245-8225-2A5F68C7B005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Ocena formalna złożonych w konkursie wniosków </a:t>
          </a:r>
          <a:endParaRPr lang="pl-PL" dirty="0">
            <a:solidFill>
              <a:schemeClr val="tx1"/>
            </a:solidFill>
          </a:endParaRPr>
        </a:p>
      </dgm:t>
    </dgm:pt>
    <dgm:pt modelId="{64606F5F-4384-434E-BE88-ED20CF995477}" type="parTrans" cxnId="{3EF609A9-7A8B-4EB6-A170-43D00DB41245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3457AA9D-E997-4AEF-B715-2C899877D007}" type="sibTrans" cxnId="{3EF609A9-7A8B-4EB6-A170-43D00DB41245}">
      <dgm:prSet/>
      <dgm:spPr>
        <a:ln>
          <a:solidFill>
            <a:schemeClr val="tx2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58BCD96F-50E9-4998-BE63-757E1642B0AE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Wezwanie partnerów do uzupełnienia braków w złożonych wnioskach</a:t>
          </a:r>
          <a:endParaRPr lang="pl-PL" dirty="0">
            <a:solidFill>
              <a:schemeClr val="tx1"/>
            </a:solidFill>
          </a:endParaRPr>
        </a:p>
      </dgm:t>
    </dgm:pt>
    <dgm:pt modelId="{6229EEDB-1293-4D86-BA82-244A4593E21F}" type="parTrans" cxnId="{AF1BD885-4449-4C8B-8E1F-34F4C5BFE351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77A559A6-B0BB-4F3A-8071-FB1BA19CAEE9}" type="sibTrans" cxnId="{AF1BD885-4449-4C8B-8E1F-34F4C5BFE351}">
      <dgm:prSet/>
      <dgm:spPr>
        <a:ln>
          <a:solidFill>
            <a:schemeClr val="tx2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8E10F98D-C8EF-4625-AD59-209555DFF439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Ocena merytoryczna uzupełnionych wniosków </a:t>
          </a:r>
          <a:endParaRPr lang="pl-PL" dirty="0">
            <a:solidFill>
              <a:schemeClr val="tx1"/>
            </a:solidFill>
          </a:endParaRPr>
        </a:p>
      </dgm:t>
    </dgm:pt>
    <dgm:pt modelId="{37A24352-0AD1-40B3-B790-217A2224E114}" type="parTrans" cxnId="{F72D1FC1-C697-48EF-9672-CC981CF22112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F48D4FDF-E939-4C0C-B363-862E9E53D20B}" type="sibTrans" cxnId="{F72D1FC1-C697-48EF-9672-CC981CF22112}">
      <dgm:prSet/>
      <dgm:spPr>
        <a:ln>
          <a:solidFill>
            <a:schemeClr val="tx2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2946C955-F3AA-444C-A95D-42BCDD7BF65F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Ogłoszenie listy ocenionych operacji na portalu KSOW w dniu </a:t>
          </a:r>
          <a:br>
            <a:rPr lang="pl-PL" dirty="0" smtClean="0">
              <a:solidFill>
                <a:schemeClr val="tx1"/>
              </a:solidFill>
            </a:rPr>
          </a:br>
          <a:r>
            <a:rPr lang="pl-PL" dirty="0" smtClean="0">
              <a:solidFill>
                <a:schemeClr val="tx1"/>
              </a:solidFill>
            </a:rPr>
            <a:t>30 kwietnia 2018 r.</a:t>
          </a:r>
          <a:endParaRPr lang="pl-PL" dirty="0">
            <a:solidFill>
              <a:schemeClr val="tx1"/>
            </a:solidFill>
          </a:endParaRPr>
        </a:p>
      </dgm:t>
    </dgm:pt>
    <dgm:pt modelId="{C042B2B3-13C1-4B68-9D98-FE7E7754DC65}" type="parTrans" cxnId="{311F1DE6-8551-40E8-90B3-E4208528081C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0107C875-EE20-4673-8F06-5B7688EDFAB8}" type="sibTrans" cxnId="{311F1DE6-8551-40E8-90B3-E4208528081C}">
      <dgm:prSet/>
      <dgm:spPr>
        <a:ln>
          <a:solidFill>
            <a:schemeClr val="tx2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B8827AA8-336D-4D63-A566-6289EF3DD27D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Wyłonienie wykonawców usług składających się na realizację operacji</a:t>
          </a:r>
        </a:p>
      </dgm:t>
    </dgm:pt>
    <dgm:pt modelId="{19E8F214-2DF9-47B6-9E57-2CF2E28AA35F}" type="parTrans" cxnId="{4D296D01-449D-4D7D-AF77-5F8D281C13F3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B107543B-B9B6-4AAF-884C-A31844AC6D11}" type="sibTrans" cxnId="{4D296D01-449D-4D7D-AF77-5F8D281C13F3}">
      <dgm:prSet/>
      <dgm:spPr>
        <a:ln>
          <a:solidFill>
            <a:schemeClr val="tx1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26DE305D-235F-489E-BC42-F16755AC5CBF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Opłacenie faktur wystawionych przez wykonawców usług ze specjalnie wydzielonego dla operacji konta</a:t>
          </a:r>
        </a:p>
      </dgm:t>
    </dgm:pt>
    <dgm:pt modelId="{37FDD430-F1EA-4F65-A678-134924B908BF}" type="parTrans" cxnId="{9D816197-E8B7-482D-8FB7-986BB8248106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814811D5-D795-476C-9E59-7710A2845D9D}" type="sibTrans" cxnId="{9D816197-E8B7-482D-8FB7-986BB8248106}">
      <dgm:prSet/>
      <dgm:spPr>
        <a:ln>
          <a:solidFill>
            <a:schemeClr val="tx1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E2108ECC-D565-4D08-AFF6-AD8FBBFE2F1B}">
      <dgm:prSet phldrT="[Tekst]"/>
      <dgm:spPr/>
      <dgm:t>
        <a:bodyPr/>
        <a:lstStyle/>
        <a:p>
          <a:pPr algn="ctr"/>
          <a:r>
            <a:rPr lang="pl-PL" dirty="0" smtClean="0">
              <a:solidFill>
                <a:schemeClr val="tx1"/>
              </a:solidFill>
            </a:rPr>
            <a:t>Weryfikacja złożonego wniosku, ewentualne skierowanie do uzupełnienia </a:t>
          </a:r>
        </a:p>
      </dgm:t>
    </dgm:pt>
    <dgm:pt modelId="{9C786D4D-DBBC-4669-BD51-87E2DE3C9203}" type="parTrans" cxnId="{C2AD5C93-32BE-4BF0-BFC0-89AB51339734}">
      <dgm:prSet/>
      <dgm:spPr/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A93698ED-DE3F-42C3-952A-E9BE418F568B}" type="sibTrans" cxnId="{C2AD5C93-32BE-4BF0-BFC0-89AB51339734}">
      <dgm:prSet/>
      <dgm:spPr>
        <a:ln>
          <a:solidFill>
            <a:schemeClr val="tx1"/>
          </a:solidFill>
        </a:ln>
      </dgm:spPr>
      <dgm:t>
        <a:bodyPr/>
        <a:lstStyle/>
        <a:p>
          <a:pPr algn="ctr"/>
          <a:endParaRPr lang="pl-PL">
            <a:solidFill>
              <a:schemeClr val="tx1"/>
            </a:solidFill>
          </a:endParaRPr>
        </a:p>
      </dgm:t>
    </dgm:pt>
    <dgm:pt modelId="{8AA2C0CB-BD2D-4A25-9146-CEDABEB276A4}">
      <dgm:prSet phldrT="[Tekst]" custT="1"/>
      <dgm:spPr/>
      <dgm:t>
        <a:bodyPr/>
        <a:lstStyle/>
        <a:p>
          <a:pPr algn="ctr"/>
          <a:r>
            <a:rPr lang="pl-PL" sz="1000" b="0" dirty="0" smtClean="0">
              <a:solidFill>
                <a:schemeClr val="tx1"/>
              </a:solidFill>
            </a:rPr>
            <a:t>Realizacja operacji przez </a:t>
          </a:r>
          <a:r>
            <a:rPr lang="pl-PL" sz="1000" b="0" dirty="0" smtClean="0">
              <a:solidFill>
                <a:schemeClr val="tx1"/>
              </a:solidFill>
            </a:rPr>
            <a:t>partnerów </a:t>
          </a:r>
        </a:p>
        <a:p>
          <a:pPr algn="ctr"/>
          <a:r>
            <a:rPr lang="pl-PL" sz="1000" b="0" dirty="0" smtClean="0">
              <a:solidFill>
                <a:schemeClr val="tx1"/>
              </a:solidFill>
            </a:rPr>
            <a:t>(można zacząć realizację wcześniej – na własne ryzyko – już dzień po złożeniu wniosku w konkursie):</a:t>
          </a:r>
          <a:endParaRPr lang="pl-PL" sz="1000" b="0" dirty="0" smtClean="0">
            <a:solidFill>
              <a:schemeClr val="tx1"/>
            </a:solidFill>
          </a:endParaRPr>
        </a:p>
      </dgm:t>
    </dgm:pt>
    <dgm:pt modelId="{77098670-8723-4553-BB95-74B8DC6FD0B5}" type="parTrans" cxnId="{250F26D2-56A3-4E62-9930-BF0CF07FC9BD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20E0DB2F-85F3-442E-AEA7-CA2E75DC568A}" type="sibTrans" cxnId="{250F26D2-56A3-4E62-9930-BF0CF07FC9BD}">
      <dgm:prSet/>
      <dgm:spPr>
        <a:ln>
          <a:solidFill>
            <a:schemeClr val="tx1"/>
          </a:solidFill>
        </a:ln>
      </dgm:spPr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8117ECBE-5E39-42D7-9CEB-CFCDDCD3B857}">
      <dgm:prSet/>
      <dgm:spPr/>
      <dgm:t>
        <a:bodyPr/>
        <a:lstStyle/>
        <a:p>
          <a:r>
            <a:rPr lang="pl-PL" b="0" dirty="0" smtClean="0">
              <a:solidFill>
                <a:schemeClr val="tx1"/>
              </a:solidFill>
            </a:rPr>
            <a:t>Zatwierdzenie zmian do Planu operacyjnego przez Wojewódzką Grupę Roboczą ds. KSOW (uchwałą nr 5/18 z dnia </a:t>
          </a:r>
          <a:br>
            <a:rPr lang="pl-PL" b="0" dirty="0" smtClean="0">
              <a:solidFill>
                <a:schemeClr val="tx1"/>
              </a:solidFill>
            </a:rPr>
          </a:br>
          <a:r>
            <a:rPr lang="pl-PL" b="0" dirty="0" smtClean="0">
              <a:solidFill>
                <a:schemeClr val="tx1"/>
              </a:solidFill>
            </a:rPr>
            <a:t>11 maja 2018 r.)</a:t>
          </a:r>
          <a:endParaRPr lang="pl-PL" b="0" dirty="0">
            <a:solidFill>
              <a:schemeClr val="tx1"/>
            </a:solidFill>
          </a:endParaRPr>
        </a:p>
      </dgm:t>
    </dgm:pt>
    <dgm:pt modelId="{CB76EE70-5772-4293-BC90-4F00B0BA5644}" type="parTrans" cxnId="{648EE9D1-AF46-42C8-942A-1AACBA7A1DDE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88FD8E70-11F2-4D82-978A-9E75472EFD1B}" type="sibTrans" cxnId="{648EE9D1-AF46-42C8-942A-1AACBA7A1DDE}">
      <dgm:prSet/>
      <dgm:spPr>
        <a:ln>
          <a:solidFill>
            <a:schemeClr val="tx1"/>
          </a:solidFill>
        </a:ln>
      </dgm:spPr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22407A69-519C-4645-8C0F-D6DD124E49DF}">
      <dgm:prSet/>
      <dgm:spPr/>
      <dgm:t>
        <a:bodyPr/>
        <a:lstStyle/>
        <a:p>
          <a:r>
            <a:rPr lang="pl-PL" dirty="0" smtClean="0">
              <a:solidFill>
                <a:schemeClr val="tx1"/>
              </a:solidFill>
            </a:rPr>
            <a:t>Zawarcie umów z partnerami </a:t>
          </a:r>
          <a:endParaRPr lang="pl-PL" b="1" dirty="0">
            <a:solidFill>
              <a:schemeClr val="tx1"/>
            </a:solidFill>
          </a:endParaRPr>
        </a:p>
      </dgm:t>
    </dgm:pt>
    <dgm:pt modelId="{027FBF4D-18F8-4D7B-8E16-80BF99F2F6E7}" type="parTrans" cxnId="{4B1F2B0A-6979-439C-9BC2-9C337B287787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8158968B-3BB9-4FCE-98F0-06301C779136}" type="sibTrans" cxnId="{4B1F2B0A-6979-439C-9BC2-9C337B287787}">
      <dgm:prSet/>
      <dgm:spPr>
        <a:ln>
          <a:solidFill>
            <a:schemeClr val="tx1"/>
          </a:solidFill>
        </a:ln>
      </dgm:spPr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BB4EF258-9AB9-49CD-B589-BEF7EF830813}">
      <dgm:prSet/>
      <dgm:spPr/>
      <dgm:t>
        <a:bodyPr/>
        <a:lstStyle/>
        <a:p>
          <a:r>
            <a:rPr lang="pl-PL" dirty="0" smtClean="0">
              <a:solidFill>
                <a:schemeClr val="tx1"/>
              </a:solidFill>
            </a:rPr>
            <a:t>Zaakceptowanie listy ocenionych operacji przez Zarząd Województwa Łódzkiego uchwałą nr 585/18 </a:t>
          </a:r>
          <a:endParaRPr lang="pl-PL" dirty="0">
            <a:solidFill>
              <a:schemeClr val="tx1"/>
            </a:solidFill>
          </a:endParaRPr>
        </a:p>
      </dgm:t>
    </dgm:pt>
    <dgm:pt modelId="{9D485FA7-3B88-4E44-B4AD-11CC464E49A6}" type="parTrans" cxnId="{15FF0A2B-E9F0-42F4-83A3-0F7B14E8ED56}">
      <dgm:prSet/>
      <dgm:spPr/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0A4B52DA-7969-43B0-B312-D423701A889B}" type="sibTrans" cxnId="{15FF0A2B-E9F0-42F4-83A3-0F7B14E8ED56}">
      <dgm:prSet/>
      <dgm:spPr>
        <a:ln>
          <a:solidFill>
            <a:schemeClr val="tx2"/>
          </a:solidFill>
        </a:ln>
      </dgm:spPr>
      <dgm:t>
        <a:bodyPr/>
        <a:lstStyle/>
        <a:p>
          <a:endParaRPr lang="pl-PL">
            <a:solidFill>
              <a:schemeClr val="tx1"/>
            </a:solidFill>
          </a:endParaRPr>
        </a:p>
      </dgm:t>
    </dgm:pt>
    <dgm:pt modelId="{7906F3DC-612A-4E6E-BBC6-D42ADD19BC16}">
      <dgm:prSet phldrT="[Tekst]"/>
      <dgm:spPr/>
      <dgm:t>
        <a:bodyPr/>
        <a:lstStyle/>
        <a:p>
          <a:r>
            <a:rPr lang="pl-PL" dirty="0" smtClean="0">
              <a:solidFill>
                <a:schemeClr val="tx1"/>
              </a:solidFill>
            </a:rPr>
            <a:t>Złożenie wniosku o refundację wraz z niezbędnymi załącznikami</a:t>
          </a:r>
        </a:p>
      </dgm:t>
    </dgm:pt>
    <dgm:pt modelId="{A25F8ACF-0458-4FB8-9F66-90D41A654467}" type="parTrans" cxnId="{273FE84F-34A8-403F-B2C8-4376539E0B28}">
      <dgm:prSet/>
      <dgm:spPr/>
      <dgm:t>
        <a:bodyPr/>
        <a:lstStyle/>
        <a:p>
          <a:endParaRPr lang="pl-PL"/>
        </a:p>
      </dgm:t>
    </dgm:pt>
    <dgm:pt modelId="{1BB4A77A-DD62-4D9B-AF7A-3A4731E41140}" type="sibTrans" cxnId="{273FE84F-34A8-403F-B2C8-4376539E0B28}">
      <dgm:prSet/>
      <dgm:spPr>
        <a:ln>
          <a:solidFill>
            <a:schemeClr val="tx1"/>
          </a:solidFill>
        </a:ln>
      </dgm:spPr>
      <dgm:t>
        <a:bodyPr/>
        <a:lstStyle/>
        <a:p>
          <a:endParaRPr lang="pl-PL"/>
        </a:p>
      </dgm:t>
    </dgm:pt>
    <dgm:pt modelId="{7BC19F8E-1754-4328-A748-F9E512826E28}">
      <dgm:prSet phldrT="[Tekst]"/>
      <dgm:spPr/>
      <dgm:t>
        <a:bodyPr/>
        <a:lstStyle/>
        <a:p>
          <a:r>
            <a:rPr lang="pl-PL" dirty="0" smtClean="0">
              <a:solidFill>
                <a:schemeClr val="tx1"/>
              </a:solidFill>
            </a:rPr>
            <a:t>Wypłata środków partnerom do </a:t>
          </a:r>
          <a:br>
            <a:rPr lang="pl-PL" dirty="0" smtClean="0">
              <a:solidFill>
                <a:schemeClr val="tx1"/>
              </a:solidFill>
            </a:rPr>
          </a:br>
          <a:r>
            <a:rPr lang="pl-PL" dirty="0" smtClean="0">
              <a:solidFill>
                <a:schemeClr val="tx1"/>
              </a:solidFill>
            </a:rPr>
            <a:t>31 grudnia 2018 r.</a:t>
          </a:r>
        </a:p>
      </dgm:t>
    </dgm:pt>
    <dgm:pt modelId="{31364DE6-E789-4281-916D-8BF9DE068E38}" type="parTrans" cxnId="{2A983EA2-A0BA-4BB4-95BC-1951E8392DDA}">
      <dgm:prSet/>
      <dgm:spPr/>
      <dgm:t>
        <a:bodyPr/>
        <a:lstStyle/>
        <a:p>
          <a:endParaRPr lang="pl-PL"/>
        </a:p>
      </dgm:t>
    </dgm:pt>
    <dgm:pt modelId="{7ED56BB6-4B5A-4AF8-8993-95CC104E51EC}" type="sibTrans" cxnId="{2A983EA2-A0BA-4BB4-95BC-1951E8392DDA}">
      <dgm:prSet/>
      <dgm:spPr/>
      <dgm:t>
        <a:bodyPr/>
        <a:lstStyle/>
        <a:p>
          <a:endParaRPr lang="pl-PL"/>
        </a:p>
      </dgm:t>
    </dgm:pt>
    <dgm:pt modelId="{8113733A-A291-4026-BA59-C311E97EE6B0}" type="pres">
      <dgm:prSet presAssocID="{F3D57DEC-A8C2-410D-A8C4-B9C29440396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81E29E97-E0F8-48CF-995A-ECCC58CD01CF}" type="pres">
      <dgm:prSet presAssocID="{B4DF6667-2865-4EC1-8A11-1402C719BDE8}" presName="node" presStyleLbl="node1" presStyleIdx="0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07D23BCE-4C74-4255-AB40-1E38E8BC3428}" type="pres">
      <dgm:prSet presAssocID="{CC3DA6CE-EBB9-41CC-82F7-FBF0D78ACB8F}" presName="sibTrans" presStyleLbl="sibTrans1D1" presStyleIdx="0" presStyleCnt="14"/>
      <dgm:spPr/>
      <dgm:t>
        <a:bodyPr/>
        <a:lstStyle/>
        <a:p>
          <a:endParaRPr lang="pl-PL"/>
        </a:p>
      </dgm:t>
    </dgm:pt>
    <dgm:pt modelId="{B8182DB8-F6B0-4B4F-99B5-26CDD7AF8798}" type="pres">
      <dgm:prSet presAssocID="{CC3DA6CE-EBB9-41CC-82F7-FBF0D78ACB8F}" presName="connectorText" presStyleLbl="sibTrans1D1" presStyleIdx="0" presStyleCnt="14"/>
      <dgm:spPr/>
      <dgm:t>
        <a:bodyPr/>
        <a:lstStyle/>
        <a:p>
          <a:endParaRPr lang="pl-PL"/>
        </a:p>
      </dgm:t>
    </dgm:pt>
    <dgm:pt modelId="{766AB0D9-0C77-4870-9E69-6937C9C3D9FD}" type="pres">
      <dgm:prSet presAssocID="{478A2829-4BC6-4BDF-8A35-BFB4A05DFE77}" presName="node" presStyleLbl="node1" presStyleIdx="1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30D6F4A-0778-48ED-B9CB-455ED55C0763}" type="pres">
      <dgm:prSet presAssocID="{FFA04D0E-FA8B-47ED-B10B-11CDF03823F7}" presName="sibTrans" presStyleLbl="sibTrans1D1" presStyleIdx="1" presStyleCnt="14"/>
      <dgm:spPr/>
      <dgm:t>
        <a:bodyPr/>
        <a:lstStyle/>
        <a:p>
          <a:endParaRPr lang="pl-PL"/>
        </a:p>
      </dgm:t>
    </dgm:pt>
    <dgm:pt modelId="{C05D6646-6F7F-4142-92D1-7074F7A41784}" type="pres">
      <dgm:prSet presAssocID="{FFA04D0E-FA8B-47ED-B10B-11CDF03823F7}" presName="connectorText" presStyleLbl="sibTrans1D1" presStyleIdx="1" presStyleCnt="14"/>
      <dgm:spPr/>
      <dgm:t>
        <a:bodyPr/>
        <a:lstStyle/>
        <a:p>
          <a:endParaRPr lang="pl-PL"/>
        </a:p>
      </dgm:t>
    </dgm:pt>
    <dgm:pt modelId="{B056EF16-CD59-4D3C-BF26-D3D4F10748A0}" type="pres">
      <dgm:prSet presAssocID="{876C38B3-2AA3-4245-8225-2A5F68C7B005}" presName="node" presStyleLbl="node1" presStyleIdx="2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461ECE7-B63E-4D94-9DAD-523C140866AB}" type="pres">
      <dgm:prSet presAssocID="{3457AA9D-E997-4AEF-B715-2C899877D007}" presName="sibTrans" presStyleLbl="sibTrans1D1" presStyleIdx="2" presStyleCnt="14"/>
      <dgm:spPr/>
      <dgm:t>
        <a:bodyPr/>
        <a:lstStyle/>
        <a:p>
          <a:endParaRPr lang="pl-PL"/>
        </a:p>
      </dgm:t>
    </dgm:pt>
    <dgm:pt modelId="{F59666FF-784E-4786-9927-7A2A228DDFE9}" type="pres">
      <dgm:prSet presAssocID="{3457AA9D-E997-4AEF-B715-2C899877D007}" presName="connectorText" presStyleLbl="sibTrans1D1" presStyleIdx="2" presStyleCnt="14"/>
      <dgm:spPr/>
      <dgm:t>
        <a:bodyPr/>
        <a:lstStyle/>
        <a:p>
          <a:endParaRPr lang="pl-PL"/>
        </a:p>
      </dgm:t>
    </dgm:pt>
    <dgm:pt modelId="{A9E70579-6753-4C02-A5B6-5E229C1D094B}" type="pres">
      <dgm:prSet presAssocID="{58BCD96F-50E9-4998-BE63-757E1642B0AE}" presName="node" presStyleLbl="node1" presStyleIdx="3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3CEA0B5-FDA8-4577-862F-166C126353A9}" type="pres">
      <dgm:prSet presAssocID="{77A559A6-B0BB-4F3A-8071-FB1BA19CAEE9}" presName="sibTrans" presStyleLbl="sibTrans1D1" presStyleIdx="3" presStyleCnt="14"/>
      <dgm:spPr/>
      <dgm:t>
        <a:bodyPr/>
        <a:lstStyle/>
        <a:p>
          <a:endParaRPr lang="pl-PL"/>
        </a:p>
      </dgm:t>
    </dgm:pt>
    <dgm:pt modelId="{CA268410-5C06-4BFB-B430-27927FBDED73}" type="pres">
      <dgm:prSet presAssocID="{77A559A6-B0BB-4F3A-8071-FB1BA19CAEE9}" presName="connectorText" presStyleLbl="sibTrans1D1" presStyleIdx="3" presStyleCnt="14"/>
      <dgm:spPr/>
      <dgm:t>
        <a:bodyPr/>
        <a:lstStyle/>
        <a:p>
          <a:endParaRPr lang="pl-PL"/>
        </a:p>
      </dgm:t>
    </dgm:pt>
    <dgm:pt modelId="{7D8355B4-2B24-4E61-965F-51B6B815D05D}" type="pres">
      <dgm:prSet presAssocID="{8E10F98D-C8EF-4625-AD59-209555DFF439}" presName="node" presStyleLbl="node1" presStyleIdx="4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23B515FC-8B08-4DD6-BDA3-45E577931B03}" type="pres">
      <dgm:prSet presAssocID="{F48D4FDF-E939-4C0C-B363-862E9E53D20B}" presName="sibTrans" presStyleLbl="sibTrans1D1" presStyleIdx="4" presStyleCnt="14"/>
      <dgm:spPr/>
      <dgm:t>
        <a:bodyPr/>
        <a:lstStyle/>
        <a:p>
          <a:endParaRPr lang="pl-PL"/>
        </a:p>
      </dgm:t>
    </dgm:pt>
    <dgm:pt modelId="{362FF033-B183-421E-8484-B34EDE87B923}" type="pres">
      <dgm:prSet presAssocID="{F48D4FDF-E939-4C0C-B363-862E9E53D20B}" presName="connectorText" presStyleLbl="sibTrans1D1" presStyleIdx="4" presStyleCnt="14"/>
      <dgm:spPr/>
      <dgm:t>
        <a:bodyPr/>
        <a:lstStyle/>
        <a:p>
          <a:endParaRPr lang="pl-PL"/>
        </a:p>
      </dgm:t>
    </dgm:pt>
    <dgm:pt modelId="{D7E30BAD-BE31-47C7-8945-367BA366F404}" type="pres">
      <dgm:prSet presAssocID="{BB4EF258-9AB9-49CD-B589-BEF7EF830813}" presName="node" presStyleLbl="node1" presStyleIdx="5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ACA05EE-B0F9-4FB2-8D20-AF6629EEF67C}" type="pres">
      <dgm:prSet presAssocID="{0A4B52DA-7969-43B0-B312-D423701A889B}" presName="sibTrans" presStyleLbl="sibTrans1D1" presStyleIdx="5" presStyleCnt="14"/>
      <dgm:spPr/>
      <dgm:t>
        <a:bodyPr/>
        <a:lstStyle/>
        <a:p>
          <a:endParaRPr lang="pl-PL"/>
        </a:p>
      </dgm:t>
    </dgm:pt>
    <dgm:pt modelId="{3549FC3C-26E5-41C2-9B73-586A1B96729B}" type="pres">
      <dgm:prSet presAssocID="{0A4B52DA-7969-43B0-B312-D423701A889B}" presName="connectorText" presStyleLbl="sibTrans1D1" presStyleIdx="5" presStyleCnt="14"/>
      <dgm:spPr/>
      <dgm:t>
        <a:bodyPr/>
        <a:lstStyle/>
        <a:p>
          <a:endParaRPr lang="pl-PL"/>
        </a:p>
      </dgm:t>
    </dgm:pt>
    <dgm:pt modelId="{3D0C24D6-995E-4483-9869-C48DD4F4426B}" type="pres">
      <dgm:prSet presAssocID="{2946C955-F3AA-444C-A95D-42BCDD7BF65F}" presName="node" presStyleLbl="node1" presStyleIdx="6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FAA4EB0-342E-44E1-A71C-5B125225679B}" type="pres">
      <dgm:prSet presAssocID="{0107C875-EE20-4673-8F06-5B7688EDFAB8}" presName="sibTrans" presStyleLbl="sibTrans1D1" presStyleIdx="6" presStyleCnt="14"/>
      <dgm:spPr/>
      <dgm:t>
        <a:bodyPr/>
        <a:lstStyle/>
        <a:p>
          <a:endParaRPr lang="pl-PL"/>
        </a:p>
      </dgm:t>
    </dgm:pt>
    <dgm:pt modelId="{7367A9A8-369A-473C-8265-6BB01DE33BF5}" type="pres">
      <dgm:prSet presAssocID="{0107C875-EE20-4673-8F06-5B7688EDFAB8}" presName="connectorText" presStyleLbl="sibTrans1D1" presStyleIdx="6" presStyleCnt="14"/>
      <dgm:spPr/>
      <dgm:t>
        <a:bodyPr/>
        <a:lstStyle/>
        <a:p>
          <a:endParaRPr lang="pl-PL"/>
        </a:p>
      </dgm:t>
    </dgm:pt>
    <dgm:pt modelId="{20AA1FEE-4E64-42D7-ADE0-74D01D26120B}" type="pres">
      <dgm:prSet presAssocID="{8117ECBE-5E39-42D7-9CEB-CFCDDCD3B857}" presName="node" presStyleLbl="node1" presStyleIdx="7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B37C060-9D41-40F4-98E4-BEF879DA3182}" type="pres">
      <dgm:prSet presAssocID="{88FD8E70-11F2-4D82-978A-9E75472EFD1B}" presName="sibTrans" presStyleLbl="sibTrans1D1" presStyleIdx="7" presStyleCnt="14"/>
      <dgm:spPr/>
      <dgm:t>
        <a:bodyPr/>
        <a:lstStyle/>
        <a:p>
          <a:endParaRPr lang="pl-PL"/>
        </a:p>
      </dgm:t>
    </dgm:pt>
    <dgm:pt modelId="{0D1E4A43-9887-4499-914B-4F9722B7B116}" type="pres">
      <dgm:prSet presAssocID="{88FD8E70-11F2-4D82-978A-9E75472EFD1B}" presName="connectorText" presStyleLbl="sibTrans1D1" presStyleIdx="7" presStyleCnt="14"/>
      <dgm:spPr/>
      <dgm:t>
        <a:bodyPr/>
        <a:lstStyle/>
        <a:p>
          <a:endParaRPr lang="pl-PL"/>
        </a:p>
      </dgm:t>
    </dgm:pt>
    <dgm:pt modelId="{1D4E5925-6FB0-4C8B-925C-D5B72E4917F8}" type="pres">
      <dgm:prSet presAssocID="{22407A69-519C-4645-8C0F-D6DD124E49DF}" presName="node" presStyleLbl="node1" presStyleIdx="8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1B24CB7-E0CE-4ADF-977B-38A97F2AE54F}" type="pres">
      <dgm:prSet presAssocID="{8158968B-3BB9-4FCE-98F0-06301C779136}" presName="sibTrans" presStyleLbl="sibTrans1D1" presStyleIdx="8" presStyleCnt="14"/>
      <dgm:spPr/>
      <dgm:t>
        <a:bodyPr/>
        <a:lstStyle/>
        <a:p>
          <a:endParaRPr lang="pl-PL"/>
        </a:p>
      </dgm:t>
    </dgm:pt>
    <dgm:pt modelId="{C3812CF2-C4AD-4698-A9CE-4A5F7F8D4795}" type="pres">
      <dgm:prSet presAssocID="{8158968B-3BB9-4FCE-98F0-06301C779136}" presName="connectorText" presStyleLbl="sibTrans1D1" presStyleIdx="8" presStyleCnt="14"/>
      <dgm:spPr/>
      <dgm:t>
        <a:bodyPr/>
        <a:lstStyle/>
        <a:p>
          <a:endParaRPr lang="pl-PL"/>
        </a:p>
      </dgm:t>
    </dgm:pt>
    <dgm:pt modelId="{DEBA954D-4402-4CFB-B43D-5A8B50F53F13}" type="pres">
      <dgm:prSet presAssocID="{8AA2C0CB-BD2D-4A25-9146-CEDABEB276A4}" presName="node" presStyleLbl="node1" presStyleIdx="9" presStyleCnt="15" custScaleX="126587" custScaleY="96439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2D3B968-E77D-4CFA-9B90-62F9B1223AA4}" type="pres">
      <dgm:prSet presAssocID="{20E0DB2F-85F3-442E-AEA7-CA2E75DC568A}" presName="sibTrans" presStyleLbl="sibTrans1D1" presStyleIdx="9" presStyleCnt="14"/>
      <dgm:spPr/>
      <dgm:t>
        <a:bodyPr/>
        <a:lstStyle/>
        <a:p>
          <a:endParaRPr lang="pl-PL"/>
        </a:p>
      </dgm:t>
    </dgm:pt>
    <dgm:pt modelId="{B2320F7C-65C2-49DB-9A0F-230EE2A35C96}" type="pres">
      <dgm:prSet presAssocID="{20E0DB2F-85F3-442E-AEA7-CA2E75DC568A}" presName="connectorText" presStyleLbl="sibTrans1D1" presStyleIdx="9" presStyleCnt="14"/>
      <dgm:spPr/>
      <dgm:t>
        <a:bodyPr/>
        <a:lstStyle/>
        <a:p>
          <a:endParaRPr lang="pl-PL"/>
        </a:p>
      </dgm:t>
    </dgm:pt>
    <dgm:pt modelId="{0DBE2C8A-3963-4964-AEAC-E0E307CF544A}" type="pres">
      <dgm:prSet presAssocID="{B8827AA8-336D-4D63-A566-6289EF3DD27D}" presName="node" presStyleLbl="node1" presStyleIdx="10" presStyleCnt="15" custScaleX="93802" custScaleY="98451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1DB6D25-CEFC-4EF1-8878-8E1B40215E9C}" type="pres">
      <dgm:prSet presAssocID="{B107543B-B9B6-4AAF-884C-A31844AC6D11}" presName="sibTrans" presStyleLbl="sibTrans1D1" presStyleIdx="10" presStyleCnt="14"/>
      <dgm:spPr/>
      <dgm:t>
        <a:bodyPr/>
        <a:lstStyle/>
        <a:p>
          <a:endParaRPr lang="pl-PL"/>
        </a:p>
      </dgm:t>
    </dgm:pt>
    <dgm:pt modelId="{845DC05A-9D09-4DC6-8157-4156F0408562}" type="pres">
      <dgm:prSet presAssocID="{B107543B-B9B6-4AAF-884C-A31844AC6D11}" presName="connectorText" presStyleLbl="sibTrans1D1" presStyleIdx="10" presStyleCnt="14"/>
      <dgm:spPr/>
      <dgm:t>
        <a:bodyPr/>
        <a:lstStyle/>
        <a:p>
          <a:endParaRPr lang="pl-PL"/>
        </a:p>
      </dgm:t>
    </dgm:pt>
    <dgm:pt modelId="{2AAAEF07-E02B-4709-92CE-B001425FCAEB}" type="pres">
      <dgm:prSet presAssocID="{26DE305D-235F-489E-BC42-F16755AC5CBF}" presName="node" presStyleLbl="node1" presStyleIdx="11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48CAC891-7374-48A1-A149-DC9FCC36DAA8}" type="pres">
      <dgm:prSet presAssocID="{814811D5-D795-476C-9E59-7710A2845D9D}" presName="sibTrans" presStyleLbl="sibTrans1D1" presStyleIdx="11" presStyleCnt="14"/>
      <dgm:spPr/>
      <dgm:t>
        <a:bodyPr/>
        <a:lstStyle/>
        <a:p>
          <a:endParaRPr lang="pl-PL"/>
        </a:p>
      </dgm:t>
    </dgm:pt>
    <dgm:pt modelId="{8FE1CB31-9377-44BD-8452-337DF8274ADE}" type="pres">
      <dgm:prSet presAssocID="{814811D5-D795-476C-9E59-7710A2845D9D}" presName="connectorText" presStyleLbl="sibTrans1D1" presStyleIdx="11" presStyleCnt="14"/>
      <dgm:spPr/>
      <dgm:t>
        <a:bodyPr/>
        <a:lstStyle/>
        <a:p>
          <a:endParaRPr lang="pl-PL"/>
        </a:p>
      </dgm:t>
    </dgm:pt>
    <dgm:pt modelId="{3EE4415C-07F6-45A8-96B8-649E30080CC7}" type="pres">
      <dgm:prSet presAssocID="{7906F3DC-612A-4E6E-BBC6-D42ADD19BC16}" presName="node" presStyleLbl="node1" presStyleIdx="12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E513DD2-39DB-4389-8DC8-9FE2F72CF907}" type="pres">
      <dgm:prSet presAssocID="{1BB4A77A-DD62-4D9B-AF7A-3A4731E41140}" presName="sibTrans" presStyleLbl="sibTrans1D1" presStyleIdx="12" presStyleCnt="14"/>
      <dgm:spPr/>
      <dgm:t>
        <a:bodyPr/>
        <a:lstStyle/>
        <a:p>
          <a:endParaRPr lang="pl-PL"/>
        </a:p>
      </dgm:t>
    </dgm:pt>
    <dgm:pt modelId="{6AFA4BF1-F03A-455D-ADEB-8C7608E6FCC1}" type="pres">
      <dgm:prSet presAssocID="{1BB4A77A-DD62-4D9B-AF7A-3A4731E41140}" presName="connectorText" presStyleLbl="sibTrans1D1" presStyleIdx="12" presStyleCnt="14"/>
      <dgm:spPr/>
      <dgm:t>
        <a:bodyPr/>
        <a:lstStyle/>
        <a:p>
          <a:endParaRPr lang="pl-PL"/>
        </a:p>
      </dgm:t>
    </dgm:pt>
    <dgm:pt modelId="{43BF3EA4-0471-48AE-A63B-E3C8B2B89DE7}" type="pres">
      <dgm:prSet presAssocID="{E2108ECC-D565-4D08-AFF6-AD8FBBFE2F1B}" presName="node" presStyleLbl="node1" presStyleIdx="13" presStyleCnt="15" custScaleX="9928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64B5115D-02F0-4A90-8E84-841845092107}" type="pres">
      <dgm:prSet presAssocID="{A93698ED-DE3F-42C3-952A-E9BE418F568B}" presName="sibTrans" presStyleLbl="sibTrans1D1" presStyleIdx="13" presStyleCnt="14"/>
      <dgm:spPr/>
      <dgm:t>
        <a:bodyPr/>
        <a:lstStyle/>
        <a:p>
          <a:endParaRPr lang="pl-PL"/>
        </a:p>
      </dgm:t>
    </dgm:pt>
    <dgm:pt modelId="{19DF1183-EF2E-4977-ABDD-34A8662F3BAC}" type="pres">
      <dgm:prSet presAssocID="{A93698ED-DE3F-42C3-952A-E9BE418F568B}" presName="connectorText" presStyleLbl="sibTrans1D1" presStyleIdx="13" presStyleCnt="14"/>
      <dgm:spPr/>
      <dgm:t>
        <a:bodyPr/>
        <a:lstStyle/>
        <a:p>
          <a:endParaRPr lang="pl-PL"/>
        </a:p>
      </dgm:t>
    </dgm:pt>
    <dgm:pt modelId="{9D2E2E4F-FF12-4F09-B3B7-CA63D60C43B9}" type="pres">
      <dgm:prSet presAssocID="{7BC19F8E-1754-4328-A748-F9E512826E28}" presName="node" presStyleLbl="node1" presStyleIdx="14" presStyleCnt="1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BF567589-C105-409F-B10E-CC62163CC0C1}" type="presOf" srcId="{0A4B52DA-7969-43B0-B312-D423701A889B}" destId="{3549FC3C-26E5-41C2-9B73-586A1B96729B}" srcOrd="1" destOrd="0" presId="urn:microsoft.com/office/officeart/2005/8/layout/bProcess3"/>
    <dgm:cxn modelId="{C2AD5C93-32BE-4BF0-BFC0-89AB51339734}" srcId="{F3D57DEC-A8C2-410D-A8C4-B9C29440396F}" destId="{E2108ECC-D565-4D08-AFF6-AD8FBBFE2F1B}" srcOrd="13" destOrd="0" parTransId="{9C786D4D-DBBC-4669-BD51-87E2DE3C9203}" sibTransId="{A93698ED-DE3F-42C3-952A-E9BE418F568B}"/>
    <dgm:cxn modelId="{7C691858-D623-4631-8DAD-BF38CE4AF0CB}" type="presOf" srcId="{2946C955-F3AA-444C-A95D-42BCDD7BF65F}" destId="{3D0C24D6-995E-4483-9869-C48DD4F4426B}" srcOrd="0" destOrd="0" presId="urn:microsoft.com/office/officeart/2005/8/layout/bProcess3"/>
    <dgm:cxn modelId="{638EEBB4-5361-4A3C-9FB9-539691E956EA}" type="presOf" srcId="{FFA04D0E-FA8B-47ED-B10B-11CDF03823F7}" destId="{C05D6646-6F7F-4142-92D1-7074F7A41784}" srcOrd="1" destOrd="0" presId="urn:microsoft.com/office/officeart/2005/8/layout/bProcess3"/>
    <dgm:cxn modelId="{596F3053-D8C7-4FD4-B0DA-77948359B115}" type="presOf" srcId="{77A559A6-B0BB-4F3A-8071-FB1BA19CAEE9}" destId="{CA268410-5C06-4BFB-B430-27927FBDED73}" srcOrd="1" destOrd="0" presId="urn:microsoft.com/office/officeart/2005/8/layout/bProcess3"/>
    <dgm:cxn modelId="{1DC7F290-D025-4D77-B73F-CCD10C996B90}" type="presOf" srcId="{1BB4A77A-DD62-4D9B-AF7A-3A4731E41140}" destId="{6AFA4BF1-F03A-455D-ADEB-8C7608E6FCC1}" srcOrd="1" destOrd="0" presId="urn:microsoft.com/office/officeart/2005/8/layout/bProcess3"/>
    <dgm:cxn modelId="{05E42679-DD45-4A0C-82E5-DD38A400C869}" type="presOf" srcId="{814811D5-D795-476C-9E59-7710A2845D9D}" destId="{48CAC891-7374-48A1-A149-DC9FCC36DAA8}" srcOrd="0" destOrd="0" presId="urn:microsoft.com/office/officeart/2005/8/layout/bProcess3"/>
    <dgm:cxn modelId="{4BBABB3D-D190-42D4-B6E2-7E2FBDE09E05}" type="presOf" srcId="{3457AA9D-E997-4AEF-B715-2C899877D007}" destId="{F59666FF-784E-4786-9927-7A2A228DDFE9}" srcOrd="1" destOrd="0" presId="urn:microsoft.com/office/officeart/2005/8/layout/bProcess3"/>
    <dgm:cxn modelId="{6D1E9ED0-BB7E-40B4-BF6C-2D35F7B8A126}" type="presOf" srcId="{20E0DB2F-85F3-442E-AEA7-CA2E75DC568A}" destId="{B2320F7C-65C2-49DB-9A0F-230EE2A35C96}" srcOrd="1" destOrd="0" presId="urn:microsoft.com/office/officeart/2005/8/layout/bProcess3"/>
    <dgm:cxn modelId="{311F1DE6-8551-40E8-90B3-E4208528081C}" srcId="{F3D57DEC-A8C2-410D-A8C4-B9C29440396F}" destId="{2946C955-F3AA-444C-A95D-42BCDD7BF65F}" srcOrd="6" destOrd="0" parTransId="{C042B2B3-13C1-4B68-9D98-FE7E7754DC65}" sibTransId="{0107C875-EE20-4673-8F06-5B7688EDFAB8}"/>
    <dgm:cxn modelId="{DC5E36E2-DBB3-4961-9BE3-923F86883F64}" type="presOf" srcId="{B107543B-B9B6-4AAF-884C-A31844AC6D11}" destId="{845DC05A-9D09-4DC6-8157-4156F0408562}" srcOrd="1" destOrd="0" presId="urn:microsoft.com/office/officeart/2005/8/layout/bProcess3"/>
    <dgm:cxn modelId="{0F2B8372-9D3E-4BE5-8AFB-BAD68DAA6A51}" type="presOf" srcId="{77A559A6-B0BB-4F3A-8071-FB1BA19CAEE9}" destId="{13CEA0B5-FDA8-4577-862F-166C126353A9}" srcOrd="0" destOrd="0" presId="urn:microsoft.com/office/officeart/2005/8/layout/bProcess3"/>
    <dgm:cxn modelId="{86DAE31D-A0C0-4287-BD80-0017D891EF1B}" type="presOf" srcId="{CC3DA6CE-EBB9-41CC-82F7-FBF0D78ACB8F}" destId="{B8182DB8-F6B0-4B4F-99B5-26CDD7AF8798}" srcOrd="1" destOrd="0" presId="urn:microsoft.com/office/officeart/2005/8/layout/bProcess3"/>
    <dgm:cxn modelId="{0E55B452-5D3C-4FAE-9C89-737999AACDA3}" type="presOf" srcId="{8AA2C0CB-BD2D-4A25-9146-CEDABEB276A4}" destId="{DEBA954D-4402-4CFB-B43D-5A8B50F53F13}" srcOrd="0" destOrd="0" presId="urn:microsoft.com/office/officeart/2005/8/layout/bProcess3"/>
    <dgm:cxn modelId="{A4AF7134-1906-46D9-93D7-B655200794F7}" type="presOf" srcId="{FFA04D0E-FA8B-47ED-B10B-11CDF03823F7}" destId="{130D6F4A-0778-48ED-B9CB-455ED55C0763}" srcOrd="0" destOrd="0" presId="urn:microsoft.com/office/officeart/2005/8/layout/bProcess3"/>
    <dgm:cxn modelId="{DC353288-8749-4550-BE09-C57B0DE48CEC}" type="presOf" srcId="{0107C875-EE20-4673-8F06-5B7688EDFAB8}" destId="{7367A9A8-369A-473C-8265-6BB01DE33BF5}" srcOrd="1" destOrd="0" presId="urn:microsoft.com/office/officeart/2005/8/layout/bProcess3"/>
    <dgm:cxn modelId="{C8B020F2-74EB-4349-BDA7-02A778651172}" type="presOf" srcId="{A93698ED-DE3F-42C3-952A-E9BE418F568B}" destId="{19DF1183-EF2E-4977-ABDD-34A8662F3BAC}" srcOrd="1" destOrd="0" presId="urn:microsoft.com/office/officeart/2005/8/layout/bProcess3"/>
    <dgm:cxn modelId="{9E9ECCFC-882F-4ACA-903F-BCE4B46A0EF3}" type="presOf" srcId="{A93698ED-DE3F-42C3-952A-E9BE418F568B}" destId="{64B5115D-02F0-4A90-8E84-841845092107}" srcOrd="0" destOrd="0" presId="urn:microsoft.com/office/officeart/2005/8/layout/bProcess3"/>
    <dgm:cxn modelId="{648EE9D1-AF46-42C8-942A-1AACBA7A1DDE}" srcId="{F3D57DEC-A8C2-410D-A8C4-B9C29440396F}" destId="{8117ECBE-5E39-42D7-9CEB-CFCDDCD3B857}" srcOrd="7" destOrd="0" parTransId="{CB76EE70-5772-4293-BC90-4F00B0BA5644}" sibTransId="{88FD8E70-11F2-4D82-978A-9E75472EFD1B}"/>
    <dgm:cxn modelId="{A4004E0B-C2E2-42E2-871D-3E5099544B2D}" type="presOf" srcId="{F48D4FDF-E939-4C0C-B363-862E9E53D20B}" destId="{23B515FC-8B08-4DD6-BDA3-45E577931B03}" srcOrd="0" destOrd="0" presId="urn:microsoft.com/office/officeart/2005/8/layout/bProcess3"/>
    <dgm:cxn modelId="{167A5A5E-62AF-408C-BE45-4F5D03132FDC}" type="presOf" srcId="{E2108ECC-D565-4D08-AFF6-AD8FBBFE2F1B}" destId="{43BF3EA4-0471-48AE-A63B-E3C8B2B89DE7}" srcOrd="0" destOrd="0" presId="urn:microsoft.com/office/officeart/2005/8/layout/bProcess3"/>
    <dgm:cxn modelId="{A61F9AA1-C042-42D2-AC8E-4C9ECE0EC9CC}" type="presOf" srcId="{8158968B-3BB9-4FCE-98F0-06301C779136}" destId="{F1B24CB7-E0CE-4ADF-977B-38A97F2AE54F}" srcOrd="0" destOrd="0" presId="urn:microsoft.com/office/officeart/2005/8/layout/bProcess3"/>
    <dgm:cxn modelId="{93B2A32B-53A7-4EE1-9C5C-DB45032077FF}" type="presOf" srcId="{478A2829-4BC6-4BDF-8A35-BFB4A05DFE77}" destId="{766AB0D9-0C77-4870-9E69-6937C9C3D9FD}" srcOrd="0" destOrd="0" presId="urn:microsoft.com/office/officeart/2005/8/layout/bProcess3"/>
    <dgm:cxn modelId="{4D296D01-449D-4D7D-AF77-5F8D281C13F3}" srcId="{F3D57DEC-A8C2-410D-A8C4-B9C29440396F}" destId="{B8827AA8-336D-4D63-A566-6289EF3DD27D}" srcOrd="10" destOrd="0" parTransId="{19E8F214-2DF9-47B6-9E57-2CF2E28AA35F}" sibTransId="{B107543B-B9B6-4AAF-884C-A31844AC6D11}"/>
    <dgm:cxn modelId="{9AD01ADC-EA31-47E5-821C-43251806D078}" type="presOf" srcId="{8E10F98D-C8EF-4625-AD59-209555DFF439}" destId="{7D8355B4-2B24-4E61-965F-51B6B815D05D}" srcOrd="0" destOrd="0" presId="urn:microsoft.com/office/officeart/2005/8/layout/bProcess3"/>
    <dgm:cxn modelId="{250F26D2-56A3-4E62-9930-BF0CF07FC9BD}" srcId="{F3D57DEC-A8C2-410D-A8C4-B9C29440396F}" destId="{8AA2C0CB-BD2D-4A25-9146-CEDABEB276A4}" srcOrd="9" destOrd="0" parTransId="{77098670-8723-4553-BB95-74B8DC6FD0B5}" sibTransId="{20E0DB2F-85F3-442E-AEA7-CA2E75DC568A}"/>
    <dgm:cxn modelId="{BD830960-FF8D-43EE-9663-60EC351F7A71}" type="presOf" srcId="{CC3DA6CE-EBB9-41CC-82F7-FBF0D78ACB8F}" destId="{07D23BCE-4C74-4255-AB40-1E38E8BC3428}" srcOrd="0" destOrd="0" presId="urn:microsoft.com/office/officeart/2005/8/layout/bProcess3"/>
    <dgm:cxn modelId="{AC63A650-1E6B-4EE2-A632-D7B07D8E65DF}" type="presOf" srcId="{8158968B-3BB9-4FCE-98F0-06301C779136}" destId="{C3812CF2-C4AD-4698-A9CE-4A5F7F8D4795}" srcOrd="1" destOrd="0" presId="urn:microsoft.com/office/officeart/2005/8/layout/bProcess3"/>
    <dgm:cxn modelId="{D854F26B-F36A-4E3A-934E-E1B58B6BCEAF}" type="presOf" srcId="{22407A69-519C-4645-8C0F-D6DD124E49DF}" destId="{1D4E5925-6FB0-4C8B-925C-D5B72E4917F8}" srcOrd="0" destOrd="0" presId="urn:microsoft.com/office/officeart/2005/8/layout/bProcess3"/>
    <dgm:cxn modelId="{9D816197-E8B7-482D-8FB7-986BB8248106}" srcId="{F3D57DEC-A8C2-410D-A8C4-B9C29440396F}" destId="{26DE305D-235F-489E-BC42-F16755AC5CBF}" srcOrd="11" destOrd="0" parTransId="{37FDD430-F1EA-4F65-A678-134924B908BF}" sibTransId="{814811D5-D795-476C-9E59-7710A2845D9D}"/>
    <dgm:cxn modelId="{98ACF70F-D589-4E4A-BFE8-1E9467D2DD31}" type="presOf" srcId="{3457AA9D-E997-4AEF-B715-2C899877D007}" destId="{5461ECE7-B63E-4D94-9DAD-523C140866AB}" srcOrd="0" destOrd="0" presId="urn:microsoft.com/office/officeart/2005/8/layout/bProcess3"/>
    <dgm:cxn modelId="{40125358-1D8E-4BD5-8BEF-DA295C6C6409}" type="presOf" srcId="{B107543B-B9B6-4AAF-884C-A31844AC6D11}" destId="{F1DB6D25-CEFC-4EF1-8878-8E1B40215E9C}" srcOrd="0" destOrd="0" presId="urn:microsoft.com/office/officeart/2005/8/layout/bProcess3"/>
    <dgm:cxn modelId="{67C9B7D1-7243-43C0-9CCB-05C4C58B92BF}" type="presOf" srcId="{814811D5-D795-476C-9E59-7710A2845D9D}" destId="{8FE1CB31-9377-44BD-8452-337DF8274ADE}" srcOrd="1" destOrd="0" presId="urn:microsoft.com/office/officeart/2005/8/layout/bProcess3"/>
    <dgm:cxn modelId="{C5B2620B-2161-497D-B4D2-D6116EE3EEA9}" type="presOf" srcId="{F3D57DEC-A8C2-410D-A8C4-B9C29440396F}" destId="{8113733A-A291-4026-BA59-C311E97EE6B0}" srcOrd="0" destOrd="0" presId="urn:microsoft.com/office/officeart/2005/8/layout/bProcess3"/>
    <dgm:cxn modelId="{405558BB-9608-404C-ABF9-EBA795109CF1}" srcId="{F3D57DEC-A8C2-410D-A8C4-B9C29440396F}" destId="{478A2829-4BC6-4BDF-8A35-BFB4A05DFE77}" srcOrd="1" destOrd="0" parTransId="{CDAC9BA4-A8E8-4D53-8D46-3AF1A4551BF3}" sibTransId="{FFA04D0E-FA8B-47ED-B10B-11CDF03823F7}"/>
    <dgm:cxn modelId="{53B7B7DE-382B-42A8-B67D-90A96DC2E454}" srcId="{F3D57DEC-A8C2-410D-A8C4-B9C29440396F}" destId="{B4DF6667-2865-4EC1-8A11-1402C719BDE8}" srcOrd="0" destOrd="0" parTransId="{B86A9912-8430-45C6-93E1-852EA43E7FF7}" sibTransId="{CC3DA6CE-EBB9-41CC-82F7-FBF0D78ACB8F}"/>
    <dgm:cxn modelId="{2A983EA2-A0BA-4BB4-95BC-1951E8392DDA}" srcId="{F3D57DEC-A8C2-410D-A8C4-B9C29440396F}" destId="{7BC19F8E-1754-4328-A748-F9E512826E28}" srcOrd="14" destOrd="0" parTransId="{31364DE6-E789-4281-916D-8BF9DE068E38}" sibTransId="{7ED56BB6-4B5A-4AF8-8993-95CC104E51EC}"/>
    <dgm:cxn modelId="{00E9C681-3BF5-4F73-938F-A8945A892F0F}" type="presOf" srcId="{0A4B52DA-7969-43B0-B312-D423701A889B}" destId="{3ACA05EE-B0F9-4FB2-8D20-AF6629EEF67C}" srcOrd="0" destOrd="0" presId="urn:microsoft.com/office/officeart/2005/8/layout/bProcess3"/>
    <dgm:cxn modelId="{77F005DE-2E24-4F57-BE43-5D5D680BE5EB}" type="presOf" srcId="{8117ECBE-5E39-42D7-9CEB-CFCDDCD3B857}" destId="{20AA1FEE-4E64-42D7-ADE0-74D01D26120B}" srcOrd="0" destOrd="0" presId="urn:microsoft.com/office/officeart/2005/8/layout/bProcess3"/>
    <dgm:cxn modelId="{4B1F2B0A-6979-439C-9BC2-9C337B287787}" srcId="{F3D57DEC-A8C2-410D-A8C4-B9C29440396F}" destId="{22407A69-519C-4645-8C0F-D6DD124E49DF}" srcOrd="8" destOrd="0" parTransId="{027FBF4D-18F8-4D7B-8E16-80BF99F2F6E7}" sibTransId="{8158968B-3BB9-4FCE-98F0-06301C779136}"/>
    <dgm:cxn modelId="{8CCE6B87-B2F6-4832-8E2A-7A58B1F5C756}" type="presOf" srcId="{88FD8E70-11F2-4D82-978A-9E75472EFD1B}" destId="{AB37C060-9D41-40F4-98E4-BEF879DA3182}" srcOrd="0" destOrd="0" presId="urn:microsoft.com/office/officeart/2005/8/layout/bProcess3"/>
    <dgm:cxn modelId="{472580E3-C404-4DFC-A38E-6BD4BDB91D96}" type="presOf" srcId="{58BCD96F-50E9-4998-BE63-757E1642B0AE}" destId="{A9E70579-6753-4C02-A5B6-5E229C1D094B}" srcOrd="0" destOrd="0" presId="urn:microsoft.com/office/officeart/2005/8/layout/bProcess3"/>
    <dgm:cxn modelId="{CA4F708A-13CC-4765-B3B9-B9C06E8CCE29}" type="presOf" srcId="{0107C875-EE20-4673-8F06-5B7688EDFAB8}" destId="{DFAA4EB0-342E-44E1-A71C-5B125225679B}" srcOrd="0" destOrd="0" presId="urn:microsoft.com/office/officeart/2005/8/layout/bProcess3"/>
    <dgm:cxn modelId="{7111704F-A162-4987-A5DB-ECA8218B51FA}" type="presOf" srcId="{20E0DB2F-85F3-442E-AEA7-CA2E75DC568A}" destId="{D2D3B968-E77D-4CFA-9B90-62F9B1223AA4}" srcOrd="0" destOrd="0" presId="urn:microsoft.com/office/officeart/2005/8/layout/bProcess3"/>
    <dgm:cxn modelId="{AA16A2D8-E495-4777-8078-5078C1EEA24B}" type="presOf" srcId="{88FD8E70-11F2-4D82-978A-9E75472EFD1B}" destId="{0D1E4A43-9887-4499-914B-4F9722B7B116}" srcOrd="1" destOrd="0" presId="urn:microsoft.com/office/officeart/2005/8/layout/bProcess3"/>
    <dgm:cxn modelId="{AF1BD885-4449-4C8B-8E1F-34F4C5BFE351}" srcId="{F3D57DEC-A8C2-410D-A8C4-B9C29440396F}" destId="{58BCD96F-50E9-4998-BE63-757E1642B0AE}" srcOrd="3" destOrd="0" parTransId="{6229EEDB-1293-4D86-BA82-244A4593E21F}" sibTransId="{77A559A6-B0BB-4F3A-8071-FB1BA19CAEE9}"/>
    <dgm:cxn modelId="{15FF0A2B-E9F0-42F4-83A3-0F7B14E8ED56}" srcId="{F3D57DEC-A8C2-410D-A8C4-B9C29440396F}" destId="{BB4EF258-9AB9-49CD-B589-BEF7EF830813}" srcOrd="5" destOrd="0" parTransId="{9D485FA7-3B88-4E44-B4AD-11CC464E49A6}" sibTransId="{0A4B52DA-7969-43B0-B312-D423701A889B}"/>
    <dgm:cxn modelId="{3A8DA427-839A-48A3-8934-DA952A6C23B2}" type="presOf" srcId="{B4DF6667-2865-4EC1-8A11-1402C719BDE8}" destId="{81E29E97-E0F8-48CF-995A-ECCC58CD01CF}" srcOrd="0" destOrd="0" presId="urn:microsoft.com/office/officeart/2005/8/layout/bProcess3"/>
    <dgm:cxn modelId="{C784D650-243A-4B5B-AD77-82632EC19D55}" type="presOf" srcId="{7BC19F8E-1754-4328-A748-F9E512826E28}" destId="{9D2E2E4F-FF12-4F09-B3B7-CA63D60C43B9}" srcOrd="0" destOrd="0" presId="urn:microsoft.com/office/officeart/2005/8/layout/bProcess3"/>
    <dgm:cxn modelId="{9B46BF52-04AB-438A-994B-C631948E8BB5}" type="presOf" srcId="{B8827AA8-336D-4D63-A566-6289EF3DD27D}" destId="{0DBE2C8A-3963-4964-AEAC-E0E307CF544A}" srcOrd="0" destOrd="0" presId="urn:microsoft.com/office/officeart/2005/8/layout/bProcess3"/>
    <dgm:cxn modelId="{C7B7F822-3254-46CD-A1A3-526FD9FF6F67}" type="presOf" srcId="{F48D4FDF-E939-4C0C-B363-862E9E53D20B}" destId="{362FF033-B183-421E-8484-B34EDE87B923}" srcOrd="1" destOrd="0" presId="urn:microsoft.com/office/officeart/2005/8/layout/bProcess3"/>
    <dgm:cxn modelId="{3EF609A9-7A8B-4EB6-A170-43D00DB41245}" srcId="{F3D57DEC-A8C2-410D-A8C4-B9C29440396F}" destId="{876C38B3-2AA3-4245-8225-2A5F68C7B005}" srcOrd="2" destOrd="0" parTransId="{64606F5F-4384-434E-BE88-ED20CF995477}" sibTransId="{3457AA9D-E997-4AEF-B715-2C899877D007}"/>
    <dgm:cxn modelId="{F4EBC8CC-4D2C-4556-BEF9-3EBA67616DCC}" type="presOf" srcId="{876C38B3-2AA3-4245-8225-2A5F68C7B005}" destId="{B056EF16-CD59-4D3C-BF26-D3D4F10748A0}" srcOrd="0" destOrd="0" presId="urn:microsoft.com/office/officeart/2005/8/layout/bProcess3"/>
    <dgm:cxn modelId="{39645CC7-5424-470D-9AF7-F4B6465CB5BC}" type="presOf" srcId="{1BB4A77A-DD62-4D9B-AF7A-3A4731E41140}" destId="{3E513DD2-39DB-4389-8DC8-9FE2F72CF907}" srcOrd="0" destOrd="0" presId="urn:microsoft.com/office/officeart/2005/8/layout/bProcess3"/>
    <dgm:cxn modelId="{273FE84F-34A8-403F-B2C8-4376539E0B28}" srcId="{F3D57DEC-A8C2-410D-A8C4-B9C29440396F}" destId="{7906F3DC-612A-4E6E-BBC6-D42ADD19BC16}" srcOrd="12" destOrd="0" parTransId="{A25F8ACF-0458-4FB8-9F66-90D41A654467}" sibTransId="{1BB4A77A-DD62-4D9B-AF7A-3A4731E41140}"/>
    <dgm:cxn modelId="{C6AB4077-039B-4469-87EB-FA0F3DB54410}" type="presOf" srcId="{7906F3DC-612A-4E6E-BBC6-D42ADD19BC16}" destId="{3EE4415C-07F6-45A8-96B8-649E30080CC7}" srcOrd="0" destOrd="0" presId="urn:microsoft.com/office/officeart/2005/8/layout/bProcess3"/>
    <dgm:cxn modelId="{F72D1FC1-C697-48EF-9672-CC981CF22112}" srcId="{F3D57DEC-A8C2-410D-A8C4-B9C29440396F}" destId="{8E10F98D-C8EF-4625-AD59-209555DFF439}" srcOrd="4" destOrd="0" parTransId="{37A24352-0AD1-40B3-B790-217A2224E114}" sibTransId="{F48D4FDF-E939-4C0C-B363-862E9E53D20B}"/>
    <dgm:cxn modelId="{AC8DD0C0-815A-4F56-A126-3E16E34AD17F}" type="presOf" srcId="{BB4EF258-9AB9-49CD-B589-BEF7EF830813}" destId="{D7E30BAD-BE31-47C7-8945-367BA366F404}" srcOrd="0" destOrd="0" presId="urn:microsoft.com/office/officeart/2005/8/layout/bProcess3"/>
    <dgm:cxn modelId="{A9BDFDE6-B46E-4EF5-93CA-DE9AF9CB6E2F}" type="presOf" srcId="{26DE305D-235F-489E-BC42-F16755AC5CBF}" destId="{2AAAEF07-E02B-4709-92CE-B001425FCAEB}" srcOrd="0" destOrd="0" presId="urn:microsoft.com/office/officeart/2005/8/layout/bProcess3"/>
    <dgm:cxn modelId="{AD81ABED-9663-49BA-8FA8-6842C70BEFA9}" type="presParOf" srcId="{8113733A-A291-4026-BA59-C311E97EE6B0}" destId="{81E29E97-E0F8-48CF-995A-ECCC58CD01CF}" srcOrd="0" destOrd="0" presId="urn:microsoft.com/office/officeart/2005/8/layout/bProcess3"/>
    <dgm:cxn modelId="{3479CB22-D353-4130-86E4-4FE6344D087B}" type="presParOf" srcId="{8113733A-A291-4026-BA59-C311E97EE6B0}" destId="{07D23BCE-4C74-4255-AB40-1E38E8BC3428}" srcOrd="1" destOrd="0" presId="urn:microsoft.com/office/officeart/2005/8/layout/bProcess3"/>
    <dgm:cxn modelId="{251C1B80-0FF0-4FD0-908C-52AFDF9DCF52}" type="presParOf" srcId="{07D23BCE-4C74-4255-AB40-1E38E8BC3428}" destId="{B8182DB8-F6B0-4B4F-99B5-26CDD7AF8798}" srcOrd="0" destOrd="0" presId="urn:microsoft.com/office/officeart/2005/8/layout/bProcess3"/>
    <dgm:cxn modelId="{AF5025E1-0400-4D77-BCED-2B60224095E7}" type="presParOf" srcId="{8113733A-A291-4026-BA59-C311E97EE6B0}" destId="{766AB0D9-0C77-4870-9E69-6937C9C3D9FD}" srcOrd="2" destOrd="0" presId="urn:microsoft.com/office/officeart/2005/8/layout/bProcess3"/>
    <dgm:cxn modelId="{EEA6CD19-6EA1-4AE6-BEDA-8D5FFDA49FF8}" type="presParOf" srcId="{8113733A-A291-4026-BA59-C311E97EE6B0}" destId="{130D6F4A-0778-48ED-B9CB-455ED55C0763}" srcOrd="3" destOrd="0" presId="urn:microsoft.com/office/officeart/2005/8/layout/bProcess3"/>
    <dgm:cxn modelId="{3EA5BDCE-D5A6-4200-8D8C-CEB69CD1A9ED}" type="presParOf" srcId="{130D6F4A-0778-48ED-B9CB-455ED55C0763}" destId="{C05D6646-6F7F-4142-92D1-7074F7A41784}" srcOrd="0" destOrd="0" presId="urn:microsoft.com/office/officeart/2005/8/layout/bProcess3"/>
    <dgm:cxn modelId="{F12F30E7-A0C1-4E4E-AC14-0265A1780AF1}" type="presParOf" srcId="{8113733A-A291-4026-BA59-C311E97EE6B0}" destId="{B056EF16-CD59-4D3C-BF26-D3D4F10748A0}" srcOrd="4" destOrd="0" presId="urn:microsoft.com/office/officeart/2005/8/layout/bProcess3"/>
    <dgm:cxn modelId="{B128DD89-1F5F-4793-BAE4-069AA49F7592}" type="presParOf" srcId="{8113733A-A291-4026-BA59-C311E97EE6B0}" destId="{5461ECE7-B63E-4D94-9DAD-523C140866AB}" srcOrd="5" destOrd="0" presId="urn:microsoft.com/office/officeart/2005/8/layout/bProcess3"/>
    <dgm:cxn modelId="{21002877-A25B-4D4B-BD20-E7987F61D631}" type="presParOf" srcId="{5461ECE7-B63E-4D94-9DAD-523C140866AB}" destId="{F59666FF-784E-4786-9927-7A2A228DDFE9}" srcOrd="0" destOrd="0" presId="urn:microsoft.com/office/officeart/2005/8/layout/bProcess3"/>
    <dgm:cxn modelId="{403B28BD-6B18-4AD7-A548-2443FADEA7DB}" type="presParOf" srcId="{8113733A-A291-4026-BA59-C311E97EE6B0}" destId="{A9E70579-6753-4C02-A5B6-5E229C1D094B}" srcOrd="6" destOrd="0" presId="urn:microsoft.com/office/officeart/2005/8/layout/bProcess3"/>
    <dgm:cxn modelId="{6D3D0B20-D4ED-4345-A73C-2B565885A347}" type="presParOf" srcId="{8113733A-A291-4026-BA59-C311E97EE6B0}" destId="{13CEA0B5-FDA8-4577-862F-166C126353A9}" srcOrd="7" destOrd="0" presId="urn:microsoft.com/office/officeart/2005/8/layout/bProcess3"/>
    <dgm:cxn modelId="{79BAC42D-A508-46DC-9925-777B5066701F}" type="presParOf" srcId="{13CEA0B5-FDA8-4577-862F-166C126353A9}" destId="{CA268410-5C06-4BFB-B430-27927FBDED73}" srcOrd="0" destOrd="0" presId="urn:microsoft.com/office/officeart/2005/8/layout/bProcess3"/>
    <dgm:cxn modelId="{93FC0B70-D5F0-4C18-B5CA-CB3B098C8D9F}" type="presParOf" srcId="{8113733A-A291-4026-BA59-C311E97EE6B0}" destId="{7D8355B4-2B24-4E61-965F-51B6B815D05D}" srcOrd="8" destOrd="0" presId="urn:microsoft.com/office/officeart/2005/8/layout/bProcess3"/>
    <dgm:cxn modelId="{8E8950FF-A475-43EC-B0B5-34E8D095A9E6}" type="presParOf" srcId="{8113733A-A291-4026-BA59-C311E97EE6B0}" destId="{23B515FC-8B08-4DD6-BDA3-45E577931B03}" srcOrd="9" destOrd="0" presId="urn:microsoft.com/office/officeart/2005/8/layout/bProcess3"/>
    <dgm:cxn modelId="{20CD8104-4DEA-4309-A62E-44C841FBB238}" type="presParOf" srcId="{23B515FC-8B08-4DD6-BDA3-45E577931B03}" destId="{362FF033-B183-421E-8484-B34EDE87B923}" srcOrd="0" destOrd="0" presId="urn:microsoft.com/office/officeart/2005/8/layout/bProcess3"/>
    <dgm:cxn modelId="{A38A8960-732C-429F-AD67-11B55E70E56D}" type="presParOf" srcId="{8113733A-A291-4026-BA59-C311E97EE6B0}" destId="{D7E30BAD-BE31-47C7-8945-367BA366F404}" srcOrd="10" destOrd="0" presId="urn:microsoft.com/office/officeart/2005/8/layout/bProcess3"/>
    <dgm:cxn modelId="{DEAF8D38-B4C4-41B3-813B-73ACA2E52DD9}" type="presParOf" srcId="{8113733A-A291-4026-BA59-C311E97EE6B0}" destId="{3ACA05EE-B0F9-4FB2-8D20-AF6629EEF67C}" srcOrd="11" destOrd="0" presId="urn:microsoft.com/office/officeart/2005/8/layout/bProcess3"/>
    <dgm:cxn modelId="{8B751AD3-BBF0-45E7-906A-3F64902DC83B}" type="presParOf" srcId="{3ACA05EE-B0F9-4FB2-8D20-AF6629EEF67C}" destId="{3549FC3C-26E5-41C2-9B73-586A1B96729B}" srcOrd="0" destOrd="0" presId="urn:microsoft.com/office/officeart/2005/8/layout/bProcess3"/>
    <dgm:cxn modelId="{721CB158-B761-427F-B816-661FE2D1076B}" type="presParOf" srcId="{8113733A-A291-4026-BA59-C311E97EE6B0}" destId="{3D0C24D6-995E-4483-9869-C48DD4F4426B}" srcOrd="12" destOrd="0" presId="urn:microsoft.com/office/officeart/2005/8/layout/bProcess3"/>
    <dgm:cxn modelId="{B438AD91-FBB1-4AF0-B55B-CF2DFD66C3E0}" type="presParOf" srcId="{8113733A-A291-4026-BA59-C311E97EE6B0}" destId="{DFAA4EB0-342E-44E1-A71C-5B125225679B}" srcOrd="13" destOrd="0" presId="urn:microsoft.com/office/officeart/2005/8/layout/bProcess3"/>
    <dgm:cxn modelId="{EB9DBF14-9C99-45DC-A421-6173D0DFC703}" type="presParOf" srcId="{DFAA4EB0-342E-44E1-A71C-5B125225679B}" destId="{7367A9A8-369A-473C-8265-6BB01DE33BF5}" srcOrd="0" destOrd="0" presId="urn:microsoft.com/office/officeart/2005/8/layout/bProcess3"/>
    <dgm:cxn modelId="{943D9338-91D1-4ABE-9199-521B07B10AD8}" type="presParOf" srcId="{8113733A-A291-4026-BA59-C311E97EE6B0}" destId="{20AA1FEE-4E64-42D7-ADE0-74D01D26120B}" srcOrd="14" destOrd="0" presId="urn:microsoft.com/office/officeart/2005/8/layout/bProcess3"/>
    <dgm:cxn modelId="{2C5DF792-1565-472A-AC62-E2E1B56D4556}" type="presParOf" srcId="{8113733A-A291-4026-BA59-C311E97EE6B0}" destId="{AB37C060-9D41-40F4-98E4-BEF879DA3182}" srcOrd="15" destOrd="0" presId="urn:microsoft.com/office/officeart/2005/8/layout/bProcess3"/>
    <dgm:cxn modelId="{B5E1A2E3-5C1A-4B90-B05C-1EDC59444314}" type="presParOf" srcId="{AB37C060-9D41-40F4-98E4-BEF879DA3182}" destId="{0D1E4A43-9887-4499-914B-4F9722B7B116}" srcOrd="0" destOrd="0" presId="urn:microsoft.com/office/officeart/2005/8/layout/bProcess3"/>
    <dgm:cxn modelId="{54BB1460-FB3B-411A-A461-11C571FF876E}" type="presParOf" srcId="{8113733A-A291-4026-BA59-C311E97EE6B0}" destId="{1D4E5925-6FB0-4C8B-925C-D5B72E4917F8}" srcOrd="16" destOrd="0" presId="urn:microsoft.com/office/officeart/2005/8/layout/bProcess3"/>
    <dgm:cxn modelId="{0ED6FC57-1B9E-48A6-AE97-F148ACD6DE2F}" type="presParOf" srcId="{8113733A-A291-4026-BA59-C311E97EE6B0}" destId="{F1B24CB7-E0CE-4ADF-977B-38A97F2AE54F}" srcOrd="17" destOrd="0" presId="urn:microsoft.com/office/officeart/2005/8/layout/bProcess3"/>
    <dgm:cxn modelId="{107664C0-1B78-41A1-8C7B-EC5141B02464}" type="presParOf" srcId="{F1B24CB7-E0CE-4ADF-977B-38A97F2AE54F}" destId="{C3812CF2-C4AD-4698-A9CE-4A5F7F8D4795}" srcOrd="0" destOrd="0" presId="urn:microsoft.com/office/officeart/2005/8/layout/bProcess3"/>
    <dgm:cxn modelId="{A7A00279-DB5A-4D08-BE37-CBD76CD272BC}" type="presParOf" srcId="{8113733A-A291-4026-BA59-C311E97EE6B0}" destId="{DEBA954D-4402-4CFB-B43D-5A8B50F53F13}" srcOrd="18" destOrd="0" presId="urn:microsoft.com/office/officeart/2005/8/layout/bProcess3"/>
    <dgm:cxn modelId="{7406F8F9-486F-4483-94F9-CB6BAAF8DBE5}" type="presParOf" srcId="{8113733A-A291-4026-BA59-C311E97EE6B0}" destId="{D2D3B968-E77D-4CFA-9B90-62F9B1223AA4}" srcOrd="19" destOrd="0" presId="urn:microsoft.com/office/officeart/2005/8/layout/bProcess3"/>
    <dgm:cxn modelId="{821EFE39-DF84-41BC-B77F-82F07D474F39}" type="presParOf" srcId="{D2D3B968-E77D-4CFA-9B90-62F9B1223AA4}" destId="{B2320F7C-65C2-49DB-9A0F-230EE2A35C96}" srcOrd="0" destOrd="0" presId="urn:microsoft.com/office/officeart/2005/8/layout/bProcess3"/>
    <dgm:cxn modelId="{E2FC576E-0AB0-46A0-94E2-30952ECF1E92}" type="presParOf" srcId="{8113733A-A291-4026-BA59-C311E97EE6B0}" destId="{0DBE2C8A-3963-4964-AEAC-E0E307CF544A}" srcOrd="20" destOrd="0" presId="urn:microsoft.com/office/officeart/2005/8/layout/bProcess3"/>
    <dgm:cxn modelId="{5923B0A4-6AFF-437F-8F24-1204F553B9E7}" type="presParOf" srcId="{8113733A-A291-4026-BA59-C311E97EE6B0}" destId="{F1DB6D25-CEFC-4EF1-8878-8E1B40215E9C}" srcOrd="21" destOrd="0" presId="urn:microsoft.com/office/officeart/2005/8/layout/bProcess3"/>
    <dgm:cxn modelId="{77D8F0FE-F307-4B05-9A9E-C276D8358148}" type="presParOf" srcId="{F1DB6D25-CEFC-4EF1-8878-8E1B40215E9C}" destId="{845DC05A-9D09-4DC6-8157-4156F0408562}" srcOrd="0" destOrd="0" presId="urn:microsoft.com/office/officeart/2005/8/layout/bProcess3"/>
    <dgm:cxn modelId="{4B22EEAB-A5E3-4610-9044-CBE6D0618981}" type="presParOf" srcId="{8113733A-A291-4026-BA59-C311E97EE6B0}" destId="{2AAAEF07-E02B-4709-92CE-B001425FCAEB}" srcOrd="22" destOrd="0" presId="urn:microsoft.com/office/officeart/2005/8/layout/bProcess3"/>
    <dgm:cxn modelId="{47370CB6-5348-4D16-8FEB-652FA9E158E6}" type="presParOf" srcId="{8113733A-A291-4026-BA59-C311E97EE6B0}" destId="{48CAC891-7374-48A1-A149-DC9FCC36DAA8}" srcOrd="23" destOrd="0" presId="urn:microsoft.com/office/officeart/2005/8/layout/bProcess3"/>
    <dgm:cxn modelId="{625C4CEA-BFD6-4387-813B-13D4F412B2F3}" type="presParOf" srcId="{48CAC891-7374-48A1-A149-DC9FCC36DAA8}" destId="{8FE1CB31-9377-44BD-8452-337DF8274ADE}" srcOrd="0" destOrd="0" presId="urn:microsoft.com/office/officeart/2005/8/layout/bProcess3"/>
    <dgm:cxn modelId="{6C90D9E8-D055-4630-9AB0-1643CA44E34F}" type="presParOf" srcId="{8113733A-A291-4026-BA59-C311E97EE6B0}" destId="{3EE4415C-07F6-45A8-96B8-649E30080CC7}" srcOrd="24" destOrd="0" presId="urn:microsoft.com/office/officeart/2005/8/layout/bProcess3"/>
    <dgm:cxn modelId="{7067644D-B352-4977-AB22-E43FCEBC3A5F}" type="presParOf" srcId="{8113733A-A291-4026-BA59-C311E97EE6B0}" destId="{3E513DD2-39DB-4389-8DC8-9FE2F72CF907}" srcOrd="25" destOrd="0" presId="urn:microsoft.com/office/officeart/2005/8/layout/bProcess3"/>
    <dgm:cxn modelId="{D246AC1E-5D7F-4C2D-8853-E0A2F5758E7C}" type="presParOf" srcId="{3E513DD2-39DB-4389-8DC8-9FE2F72CF907}" destId="{6AFA4BF1-F03A-455D-ADEB-8C7608E6FCC1}" srcOrd="0" destOrd="0" presId="urn:microsoft.com/office/officeart/2005/8/layout/bProcess3"/>
    <dgm:cxn modelId="{3E4AA8CE-B294-4D86-A6E6-894F237505B4}" type="presParOf" srcId="{8113733A-A291-4026-BA59-C311E97EE6B0}" destId="{43BF3EA4-0471-48AE-A63B-E3C8B2B89DE7}" srcOrd="26" destOrd="0" presId="urn:microsoft.com/office/officeart/2005/8/layout/bProcess3"/>
    <dgm:cxn modelId="{162182D8-48FE-4EEA-A712-383A20A646A9}" type="presParOf" srcId="{8113733A-A291-4026-BA59-C311E97EE6B0}" destId="{64B5115D-02F0-4A90-8E84-841845092107}" srcOrd="27" destOrd="0" presId="urn:microsoft.com/office/officeart/2005/8/layout/bProcess3"/>
    <dgm:cxn modelId="{F3C65EA5-1378-4CBF-8DB9-A72CD0222BB2}" type="presParOf" srcId="{64B5115D-02F0-4A90-8E84-841845092107}" destId="{19DF1183-EF2E-4977-ABDD-34A8662F3BAC}" srcOrd="0" destOrd="0" presId="urn:microsoft.com/office/officeart/2005/8/layout/bProcess3"/>
    <dgm:cxn modelId="{5FB6D174-9553-4202-BB0A-08E840781F4F}" type="presParOf" srcId="{8113733A-A291-4026-BA59-C311E97EE6B0}" destId="{9D2E2E4F-FF12-4F09-B3B7-CA63D60C43B9}" srcOrd="28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D23BCE-4C74-4255-AB40-1E38E8BC3428}">
      <dsp:nvSpPr>
        <dsp:cNvPr id="0" name=""/>
        <dsp:cNvSpPr/>
      </dsp:nvSpPr>
      <dsp:spPr>
        <a:xfrm>
          <a:off x="1725555" y="467962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1895814" y="511727"/>
        <a:ext cx="19532" cy="3910"/>
      </dsp:txXfrm>
    </dsp:sp>
    <dsp:sp modelId="{81E29E97-E0F8-48CF-995A-ECCC58CD01CF}">
      <dsp:nvSpPr>
        <dsp:cNvPr id="0" name=""/>
        <dsp:cNvSpPr/>
      </dsp:nvSpPr>
      <dsp:spPr>
        <a:xfrm>
          <a:off x="28873" y="413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Ogłoszenie o konkursie</a:t>
          </a:r>
          <a:endParaRPr lang="pl-PL" sz="1000" kern="1200" dirty="0">
            <a:solidFill>
              <a:schemeClr val="tx1"/>
            </a:solidFill>
          </a:endParaRPr>
        </a:p>
      </dsp:txBody>
      <dsp:txXfrm>
        <a:off x="28873" y="4137"/>
        <a:ext cx="1698481" cy="1019089"/>
      </dsp:txXfrm>
    </dsp:sp>
    <dsp:sp modelId="{130D6F4A-0778-48ED-B9CB-455ED55C0763}">
      <dsp:nvSpPr>
        <dsp:cNvPr id="0" name=""/>
        <dsp:cNvSpPr/>
      </dsp:nvSpPr>
      <dsp:spPr>
        <a:xfrm>
          <a:off x="3814687" y="467962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3984947" y="511727"/>
        <a:ext cx="19532" cy="3910"/>
      </dsp:txXfrm>
    </dsp:sp>
    <dsp:sp modelId="{766AB0D9-0C77-4870-9E69-6937C9C3D9FD}">
      <dsp:nvSpPr>
        <dsp:cNvPr id="0" name=""/>
        <dsp:cNvSpPr/>
      </dsp:nvSpPr>
      <dsp:spPr>
        <a:xfrm>
          <a:off x="2118006" y="413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1296"/>
                <a:satOff val="3922"/>
                <a:lumOff val="3834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1296"/>
                <a:satOff val="3922"/>
                <a:lumOff val="3834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1296"/>
                <a:satOff val="3922"/>
                <a:lumOff val="383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Nabór wniosków w konkursie na zasadach określonych przez </a:t>
          </a:r>
          <a:r>
            <a:rPr lang="pl-PL" sz="1000" kern="1200" dirty="0" err="1" smtClean="0">
              <a:solidFill>
                <a:schemeClr val="tx1"/>
              </a:solidFill>
            </a:rPr>
            <a:t>MRiRW</a:t>
          </a:r>
          <a:endParaRPr lang="pl-PL" sz="1000" kern="1200" dirty="0">
            <a:solidFill>
              <a:schemeClr val="tx1"/>
            </a:solidFill>
          </a:endParaRPr>
        </a:p>
      </dsp:txBody>
      <dsp:txXfrm>
        <a:off x="2118006" y="4137"/>
        <a:ext cx="1698481" cy="1019089"/>
      </dsp:txXfrm>
    </dsp:sp>
    <dsp:sp modelId="{5461ECE7-B63E-4D94-9DAD-523C140866AB}">
      <dsp:nvSpPr>
        <dsp:cNvPr id="0" name=""/>
        <dsp:cNvSpPr/>
      </dsp:nvSpPr>
      <dsp:spPr>
        <a:xfrm>
          <a:off x="5903820" y="467962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6074079" y="511727"/>
        <a:ext cx="19532" cy="3910"/>
      </dsp:txXfrm>
    </dsp:sp>
    <dsp:sp modelId="{B056EF16-CD59-4D3C-BF26-D3D4F10748A0}">
      <dsp:nvSpPr>
        <dsp:cNvPr id="0" name=""/>
        <dsp:cNvSpPr/>
      </dsp:nvSpPr>
      <dsp:spPr>
        <a:xfrm>
          <a:off x="4207138" y="413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2591"/>
                <a:satOff val="7843"/>
                <a:lumOff val="7668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2591"/>
                <a:satOff val="7843"/>
                <a:lumOff val="7668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2591"/>
                <a:satOff val="7843"/>
                <a:lumOff val="766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Ocena formalna złożonych w konkursie wniosków </a:t>
          </a:r>
          <a:endParaRPr lang="pl-PL" sz="1000" kern="1200" dirty="0">
            <a:solidFill>
              <a:schemeClr val="tx1"/>
            </a:solidFill>
          </a:endParaRPr>
        </a:p>
      </dsp:txBody>
      <dsp:txXfrm>
        <a:off x="4207138" y="4137"/>
        <a:ext cx="1698481" cy="1019089"/>
      </dsp:txXfrm>
    </dsp:sp>
    <dsp:sp modelId="{13CEA0B5-FDA8-4577-862F-166C126353A9}">
      <dsp:nvSpPr>
        <dsp:cNvPr id="0" name=""/>
        <dsp:cNvSpPr/>
      </dsp:nvSpPr>
      <dsp:spPr>
        <a:xfrm>
          <a:off x="878114" y="1021426"/>
          <a:ext cx="6267397" cy="360050"/>
        </a:xfrm>
        <a:custGeom>
          <a:avLst/>
          <a:gdLst/>
          <a:ahLst/>
          <a:cxnLst/>
          <a:rect l="0" t="0" r="0" b="0"/>
          <a:pathLst>
            <a:path>
              <a:moveTo>
                <a:pt x="6267397" y="0"/>
              </a:moveTo>
              <a:lnTo>
                <a:pt x="6267397" y="197125"/>
              </a:lnTo>
              <a:lnTo>
                <a:pt x="0" y="197125"/>
              </a:lnTo>
              <a:lnTo>
                <a:pt x="0" y="360050"/>
              </a:lnTo>
            </a:path>
          </a:pathLst>
        </a:custGeom>
        <a:noFill/>
        <a:ln w="9525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3854824" y="1199496"/>
        <a:ext cx="313978" cy="3910"/>
      </dsp:txXfrm>
    </dsp:sp>
    <dsp:sp modelId="{A9E70579-6753-4C02-A5B6-5E229C1D094B}">
      <dsp:nvSpPr>
        <dsp:cNvPr id="0" name=""/>
        <dsp:cNvSpPr/>
      </dsp:nvSpPr>
      <dsp:spPr>
        <a:xfrm>
          <a:off x="6296271" y="413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3887"/>
                <a:satOff val="11765"/>
                <a:lumOff val="11502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3887"/>
                <a:satOff val="11765"/>
                <a:lumOff val="11502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3887"/>
                <a:satOff val="11765"/>
                <a:lumOff val="1150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Wezwanie partnerów do uzupełnienia braków w złożonych wnioskach</a:t>
          </a:r>
          <a:endParaRPr lang="pl-PL" sz="1000" kern="1200" dirty="0">
            <a:solidFill>
              <a:schemeClr val="tx1"/>
            </a:solidFill>
          </a:endParaRPr>
        </a:p>
      </dsp:txBody>
      <dsp:txXfrm>
        <a:off x="6296271" y="4137"/>
        <a:ext cx="1698481" cy="1019089"/>
      </dsp:txXfrm>
    </dsp:sp>
    <dsp:sp modelId="{23B515FC-8B08-4DD6-BDA3-45E577931B03}">
      <dsp:nvSpPr>
        <dsp:cNvPr id="0" name=""/>
        <dsp:cNvSpPr/>
      </dsp:nvSpPr>
      <dsp:spPr>
        <a:xfrm>
          <a:off x="1725555" y="1877702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1895814" y="1921466"/>
        <a:ext cx="19532" cy="3910"/>
      </dsp:txXfrm>
    </dsp:sp>
    <dsp:sp modelId="{7D8355B4-2B24-4E61-965F-51B6B815D05D}">
      <dsp:nvSpPr>
        <dsp:cNvPr id="0" name=""/>
        <dsp:cNvSpPr/>
      </dsp:nvSpPr>
      <dsp:spPr>
        <a:xfrm>
          <a:off x="28873" y="141387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5182"/>
                <a:satOff val="15687"/>
                <a:lumOff val="15336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5182"/>
                <a:satOff val="15687"/>
                <a:lumOff val="15336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5182"/>
                <a:satOff val="15687"/>
                <a:lumOff val="1533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Ocena merytoryczna uzupełnionych wniosków </a:t>
          </a:r>
          <a:endParaRPr lang="pl-PL" sz="1000" kern="1200" dirty="0">
            <a:solidFill>
              <a:schemeClr val="tx1"/>
            </a:solidFill>
          </a:endParaRPr>
        </a:p>
      </dsp:txBody>
      <dsp:txXfrm>
        <a:off x="28873" y="1413877"/>
        <a:ext cx="1698481" cy="1019089"/>
      </dsp:txXfrm>
    </dsp:sp>
    <dsp:sp modelId="{3ACA05EE-B0F9-4FB2-8D20-AF6629EEF67C}">
      <dsp:nvSpPr>
        <dsp:cNvPr id="0" name=""/>
        <dsp:cNvSpPr/>
      </dsp:nvSpPr>
      <dsp:spPr>
        <a:xfrm>
          <a:off x="3814687" y="1877702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3984947" y="1921466"/>
        <a:ext cx="19532" cy="3910"/>
      </dsp:txXfrm>
    </dsp:sp>
    <dsp:sp modelId="{D7E30BAD-BE31-47C7-8945-367BA366F404}">
      <dsp:nvSpPr>
        <dsp:cNvPr id="0" name=""/>
        <dsp:cNvSpPr/>
      </dsp:nvSpPr>
      <dsp:spPr>
        <a:xfrm>
          <a:off x="2118006" y="141387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6478"/>
                <a:satOff val="19609"/>
                <a:lumOff val="19170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6478"/>
                <a:satOff val="19609"/>
                <a:lumOff val="19170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6478"/>
                <a:satOff val="19609"/>
                <a:lumOff val="1917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Zaakceptowanie listy ocenionych operacji przez Zarząd Województwa Łódzkiego uchwałą nr 585/18 </a:t>
          </a:r>
          <a:endParaRPr lang="pl-PL" sz="1000" kern="1200" dirty="0">
            <a:solidFill>
              <a:schemeClr val="tx1"/>
            </a:solidFill>
          </a:endParaRPr>
        </a:p>
      </dsp:txBody>
      <dsp:txXfrm>
        <a:off x="2118006" y="1413877"/>
        <a:ext cx="1698481" cy="1019089"/>
      </dsp:txXfrm>
    </dsp:sp>
    <dsp:sp modelId="{DFAA4EB0-342E-44E1-A71C-5B125225679B}">
      <dsp:nvSpPr>
        <dsp:cNvPr id="0" name=""/>
        <dsp:cNvSpPr/>
      </dsp:nvSpPr>
      <dsp:spPr>
        <a:xfrm>
          <a:off x="5903820" y="1877702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2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6074079" y="1921466"/>
        <a:ext cx="19532" cy="3910"/>
      </dsp:txXfrm>
    </dsp:sp>
    <dsp:sp modelId="{3D0C24D6-995E-4483-9869-C48DD4F4426B}">
      <dsp:nvSpPr>
        <dsp:cNvPr id="0" name=""/>
        <dsp:cNvSpPr/>
      </dsp:nvSpPr>
      <dsp:spPr>
        <a:xfrm>
          <a:off x="4207138" y="141387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7773"/>
                <a:satOff val="23530"/>
                <a:lumOff val="23004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7773"/>
                <a:satOff val="23530"/>
                <a:lumOff val="23004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7773"/>
                <a:satOff val="23530"/>
                <a:lumOff val="2300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Ogłoszenie listy ocenionych operacji na portalu KSOW w dniu </a:t>
          </a:r>
          <a:br>
            <a:rPr lang="pl-PL" sz="1000" kern="1200" dirty="0" smtClean="0">
              <a:solidFill>
                <a:schemeClr val="tx1"/>
              </a:solidFill>
            </a:rPr>
          </a:br>
          <a:r>
            <a:rPr lang="pl-PL" sz="1000" kern="1200" dirty="0" smtClean="0">
              <a:solidFill>
                <a:schemeClr val="tx1"/>
              </a:solidFill>
            </a:rPr>
            <a:t>30 kwietnia 2018 r.</a:t>
          </a:r>
          <a:endParaRPr lang="pl-PL" sz="1000" kern="1200" dirty="0">
            <a:solidFill>
              <a:schemeClr val="tx1"/>
            </a:solidFill>
          </a:endParaRPr>
        </a:p>
      </dsp:txBody>
      <dsp:txXfrm>
        <a:off x="4207138" y="1413877"/>
        <a:ext cx="1698481" cy="1019089"/>
      </dsp:txXfrm>
    </dsp:sp>
    <dsp:sp modelId="{AB37C060-9D41-40F4-98E4-BEF879DA3182}">
      <dsp:nvSpPr>
        <dsp:cNvPr id="0" name=""/>
        <dsp:cNvSpPr/>
      </dsp:nvSpPr>
      <dsp:spPr>
        <a:xfrm>
          <a:off x="878114" y="2431166"/>
          <a:ext cx="6267397" cy="360050"/>
        </a:xfrm>
        <a:custGeom>
          <a:avLst/>
          <a:gdLst/>
          <a:ahLst/>
          <a:cxnLst/>
          <a:rect l="0" t="0" r="0" b="0"/>
          <a:pathLst>
            <a:path>
              <a:moveTo>
                <a:pt x="6267397" y="0"/>
              </a:moveTo>
              <a:lnTo>
                <a:pt x="6267397" y="197125"/>
              </a:lnTo>
              <a:lnTo>
                <a:pt x="0" y="197125"/>
              </a:lnTo>
              <a:lnTo>
                <a:pt x="0" y="36005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3854824" y="2609236"/>
        <a:ext cx="313978" cy="3910"/>
      </dsp:txXfrm>
    </dsp:sp>
    <dsp:sp modelId="{20AA1FEE-4E64-42D7-ADE0-74D01D26120B}">
      <dsp:nvSpPr>
        <dsp:cNvPr id="0" name=""/>
        <dsp:cNvSpPr/>
      </dsp:nvSpPr>
      <dsp:spPr>
        <a:xfrm>
          <a:off x="6296271" y="141387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9069"/>
                <a:satOff val="27452"/>
                <a:lumOff val="26838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9069"/>
                <a:satOff val="27452"/>
                <a:lumOff val="26838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9069"/>
                <a:satOff val="27452"/>
                <a:lumOff val="2683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b="0" kern="1200" dirty="0" smtClean="0">
              <a:solidFill>
                <a:schemeClr val="tx1"/>
              </a:solidFill>
            </a:rPr>
            <a:t>Zatwierdzenie zmian do Planu operacyjnego przez Wojewódzką Grupę Roboczą ds. KSOW (uchwałą nr 5/18 z dnia </a:t>
          </a:r>
          <a:br>
            <a:rPr lang="pl-PL" sz="1000" b="0" kern="1200" dirty="0" smtClean="0">
              <a:solidFill>
                <a:schemeClr val="tx1"/>
              </a:solidFill>
            </a:rPr>
          </a:br>
          <a:r>
            <a:rPr lang="pl-PL" sz="1000" b="0" kern="1200" dirty="0" smtClean="0">
              <a:solidFill>
                <a:schemeClr val="tx1"/>
              </a:solidFill>
            </a:rPr>
            <a:t>11 maja 2018 r.)</a:t>
          </a:r>
          <a:endParaRPr lang="pl-PL" sz="1000" b="0" kern="1200" dirty="0">
            <a:solidFill>
              <a:schemeClr val="tx1"/>
            </a:solidFill>
          </a:endParaRPr>
        </a:p>
      </dsp:txBody>
      <dsp:txXfrm>
        <a:off x="6296271" y="1413877"/>
        <a:ext cx="1698481" cy="1019089"/>
      </dsp:txXfrm>
    </dsp:sp>
    <dsp:sp modelId="{F1B24CB7-E0CE-4ADF-977B-38A97F2AE54F}">
      <dsp:nvSpPr>
        <dsp:cNvPr id="0" name=""/>
        <dsp:cNvSpPr/>
      </dsp:nvSpPr>
      <dsp:spPr>
        <a:xfrm>
          <a:off x="1725555" y="3287441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1895814" y="3331206"/>
        <a:ext cx="19532" cy="3910"/>
      </dsp:txXfrm>
    </dsp:sp>
    <dsp:sp modelId="{1D4E5925-6FB0-4C8B-925C-D5B72E4917F8}">
      <dsp:nvSpPr>
        <dsp:cNvPr id="0" name=""/>
        <dsp:cNvSpPr/>
      </dsp:nvSpPr>
      <dsp:spPr>
        <a:xfrm>
          <a:off x="28873" y="282361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9069"/>
                <a:satOff val="27452"/>
                <a:lumOff val="26838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9069"/>
                <a:satOff val="27452"/>
                <a:lumOff val="26838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9069"/>
                <a:satOff val="27452"/>
                <a:lumOff val="2683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Zawarcie umów z partnerami </a:t>
          </a:r>
          <a:endParaRPr lang="pl-PL" sz="1000" b="1" kern="1200" dirty="0">
            <a:solidFill>
              <a:schemeClr val="tx1"/>
            </a:solidFill>
          </a:endParaRPr>
        </a:p>
      </dsp:txBody>
      <dsp:txXfrm>
        <a:off x="28873" y="2823617"/>
        <a:ext cx="1698481" cy="1019089"/>
      </dsp:txXfrm>
    </dsp:sp>
    <dsp:sp modelId="{D2D3B968-E77D-4CFA-9B90-62F9B1223AA4}">
      <dsp:nvSpPr>
        <dsp:cNvPr id="0" name=""/>
        <dsp:cNvSpPr/>
      </dsp:nvSpPr>
      <dsp:spPr>
        <a:xfrm>
          <a:off x="4266263" y="3287441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4436522" y="3331206"/>
        <a:ext cx="19532" cy="3910"/>
      </dsp:txXfrm>
    </dsp:sp>
    <dsp:sp modelId="{DEBA954D-4402-4CFB-B43D-5A8B50F53F13}">
      <dsp:nvSpPr>
        <dsp:cNvPr id="0" name=""/>
        <dsp:cNvSpPr/>
      </dsp:nvSpPr>
      <dsp:spPr>
        <a:xfrm>
          <a:off x="2118006" y="2841762"/>
          <a:ext cx="2150057" cy="98279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7773"/>
                <a:satOff val="23530"/>
                <a:lumOff val="23004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7773"/>
                <a:satOff val="23530"/>
                <a:lumOff val="23004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7773"/>
                <a:satOff val="23530"/>
                <a:lumOff val="2300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b="0" kern="1200" dirty="0" smtClean="0">
              <a:solidFill>
                <a:schemeClr val="tx1"/>
              </a:solidFill>
            </a:rPr>
            <a:t>Realizacja operacji przez </a:t>
          </a:r>
          <a:r>
            <a:rPr lang="pl-PL" sz="1000" b="0" kern="1200" dirty="0" smtClean="0">
              <a:solidFill>
                <a:schemeClr val="tx1"/>
              </a:solidFill>
            </a:rPr>
            <a:t>partnerów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b="0" kern="1200" dirty="0" smtClean="0">
              <a:solidFill>
                <a:schemeClr val="tx1"/>
              </a:solidFill>
            </a:rPr>
            <a:t>(można zacząć realizację wcześniej – na własne ryzyko – już dzień po złożeniu wniosku w konkursie):</a:t>
          </a:r>
          <a:endParaRPr lang="pl-PL" sz="1000" b="0" kern="1200" dirty="0" smtClean="0">
            <a:solidFill>
              <a:schemeClr val="tx1"/>
            </a:solidFill>
          </a:endParaRPr>
        </a:p>
      </dsp:txBody>
      <dsp:txXfrm>
        <a:off x="2118006" y="2841762"/>
        <a:ext cx="2150057" cy="982799"/>
      </dsp:txXfrm>
    </dsp:sp>
    <dsp:sp modelId="{F1DB6D25-CEFC-4EF1-8878-8E1B40215E9C}">
      <dsp:nvSpPr>
        <dsp:cNvPr id="0" name=""/>
        <dsp:cNvSpPr/>
      </dsp:nvSpPr>
      <dsp:spPr>
        <a:xfrm>
          <a:off x="6250123" y="3287441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6420382" y="3331206"/>
        <a:ext cx="19532" cy="3910"/>
      </dsp:txXfrm>
    </dsp:sp>
    <dsp:sp modelId="{0DBE2C8A-3963-4964-AEAC-E0E307CF544A}">
      <dsp:nvSpPr>
        <dsp:cNvPr id="0" name=""/>
        <dsp:cNvSpPr/>
      </dsp:nvSpPr>
      <dsp:spPr>
        <a:xfrm>
          <a:off x="4658714" y="2831510"/>
          <a:ext cx="1593209" cy="1003303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6478"/>
                <a:satOff val="19609"/>
                <a:lumOff val="19170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6478"/>
                <a:satOff val="19609"/>
                <a:lumOff val="19170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6478"/>
                <a:satOff val="19609"/>
                <a:lumOff val="1917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Wyłonienie wykonawców usług składających się na realizację operacji</a:t>
          </a:r>
        </a:p>
      </dsp:txBody>
      <dsp:txXfrm>
        <a:off x="4658714" y="2831510"/>
        <a:ext cx="1593209" cy="1003303"/>
      </dsp:txXfrm>
    </dsp:sp>
    <dsp:sp modelId="{48CAC891-7374-48A1-A149-DC9FCC36DAA8}">
      <dsp:nvSpPr>
        <dsp:cNvPr id="0" name=""/>
        <dsp:cNvSpPr/>
      </dsp:nvSpPr>
      <dsp:spPr>
        <a:xfrm>
          <a:off x="878114" y="3840906"/>
          <a:ext cx="6613701" cy="360050"/>
        </a:xfrm>
        <a:custGeom>
          <a:avLst/>
          <a:gdLst/>
          <a:ahLst/>
          <a:cxnLst/>
          <a:rect l="0" t="0" r="0" b="0"/>
          <a:pathLst>
            <a:path>
              <a:moveTo>
                <a:pt x="6613701" y="0"/>
              </a:moveTo>
              <a:lnTo>
                <a:pt x="6613701" y="197125"/>
              </a:lnTo>
              <a:lnTo>
                <a:pt x="0" y="197125"/>
              </a:lnTo>
              <a:lnTo>
                <a:pt x="0" y="36005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4019334" y="4018976"/>
        <a:ext cx="331261" cy="3910"/>
      </dsp:txXfrm>
    </dsp:sp>
    <dsp:sp modelId="{2AAAEF07-E02B-4709-92CE-B001425FCAEB}">
      <dsp:nvSpPr>
        <dsp:cNvPr id="0" name=""/>
        <dsp:cNvSpPr/>
      </dsp:nvSpPr>
      <dsp:spPr>
        <a:xfrm>
          <a:off x="6642574" y="282361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5182"/>
                <a:satOff val="15687"/>
                <a:lumOff val="15336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5182"/>
                <a:satOff val="15687"/>
                <a:lumOff val="15336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5182"/>
                <a:satOff val="15687"/>
                <a:lumOff val="1533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Opłacenie faktur wystawionych przez wykonawców usług ze specjalnie wydzielonego dla operacji konta</a:t>
          </a:r>
        </a:p>
      </dsp:txBody>
      <dsp:txXfrm>
        <a:off x="6642574" y="2823617"/>
        <a:ext cx="1698481" cy="1019089"/>
      </dsp:txXfrm>
    </dsp:sp>
    <dsp:sp modelId="{3E513DD2-39DB-4389-8DC8-9FE2F72CF907}">
      <dsp:nvSpPr>
        <dsp:cNvPr id="0" name=""/>
        <dsp:cNvSpPr/>
      </dsp:nvSpPr>
      <dsp:spPr>
        <a:xfrm>
          <a:off x="1725555" y="4697181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/>
        </a:p>
      </dsp:txBody>
      <dsp:txXfrm>
        <a:off x="1895814" y="4740946"/>
        <a:ext cx="19532" cy="3910"/>
      </dsp:txXfrm>
    </dsp:sp>
    <dsp:sp modelId="{3EE4415C-07F6-45A8-96B8-649E30080CC7}">
      <dsp:nvSpPr>
        <dsp:cNvPr id="0" name=""/>
        <dsp:cNvSpPr/>
      </dsp:nvSpPr>
      <dsp:spPr>
        <a:xfrm>
          <a:off x="28873" y="423335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3887"/>
                <a:satOff val="11765"/>
                <a:lumOff val="11502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3887"/>
                <a:satOff val="11765"/>
                <a:lumOff val="11502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3887"/>
                <a:satOff val="11765"/>
                <a:lumOff val="1150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Złożenie wniosku o refundację wraz z niezbędnymi załącznikami</a:t>
          </a:r>
        </a:p>
      </dsp:txBody>
      <dsp:txXfrm>
        <a:off x="28873" y="4233357"/>
        <a:ext cx="1698481" cy="1019089"/>
      </dsp:txXfrm>
    </dsp:sp>
    <dsp:sp modelId="{64B5115D-02F0-4A90-8E84-841845092107}">
      <dsp:nvSpPr>
        <dsp:cNvPr id="0" name=""/>
        <dsp:cNvSpPr/>
      </dsp:nvSpPr>
      <dsp:spPr>
        <a:xfrm>
          <a:off x="3802458" y="4697181"/>
          <a:ext cx="360050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0050" y="4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>
            <a:solidFill>
              <a:schemeClr val="tx1"/>
            </a:solidFill>
          </a:endParaRPr>
        </a:p>
      </dsp:txBody>
      <dsp:txXfrm>
        <a:off x="3972717" y="4740946"/>
        <a:ext cx="19532" cy="3910"/>
      </dsp:txXfrm>
    </dsp:sp>
    <dsp:sp modelId="{43BF3EA4-0471-48AE-A63B-E3C8B2B89DE7}">
      <dsp:nvSpPr>
        <dsp:cNvPr id="0" name=""/>
        <dsp:cNvSpPr/>
      </dsp:nvSpPr>
      <dsp:spPr>
        <a:xfrm>
          <a:off x="2118006" y="4233357"/>
          <a:ext cx="1686252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2591"/>
                <a:satOff val="7843"/>
                <a:lumOff val="7668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2591"/>
                <a:satOff val="7843"/>
                <a:lumOff val="7668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2591"/>
                <a:satOff val="7843"/>
                <a:lumOff val="766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Weryfikacja złożonego wniosku, ewentualne skierowanie do uzupełnienia </a:t>
          </a:r>
        </a:p>
      </dsp:txBody>
      <dsp:txXfrm>
        <a:off x="2118006" y="4233357"/>
        <a:ext cx="1686252" cy="1019089"/>
      </dsp:txXfrm>
    </dsp:sp>
    <dsp:sp modelId="{9D2E2E4F-FF12-4F09-B3B7-CA63D60C43B9}">
      <dsp:nvSpPr>
        <dsp:cNvPr id="0" name=""/>
        <dsp:cNvSpPr/>
      </dsp:nvSpPr>
      <dsp:spPr>
        <a:xfrm>
          <a:off x="4194909" y="4233357"/>
          <a:ext cx="1698481" cy="1019089"/>
        </a:xfrm>
        <a:prstGeom prst="rect">
          <a:avLst/>
        </a:prstGeom>
        <a:gradFill rotWithShape="0">
          <a:gsLst>
            <a:gs pos="0">
              <a:schemeClr val="accent5">
                <a:shade val="50000"/>
                <a:hueOff val="1296"/>
                <a:satOff val="3922"/>
                <a:lumOff val="3834"/>
                <a:alphaOff val="0"/>
                <a:shade val="51000"/>
                <a:satMod val="130000"/>
              </a:schemeClr>
            </a:gs>
            <a:gs pos="80000">
              <a:schemeClr val="accent5">
                <a:shade val="50000"/>
                <a:hueOff val="1296"/>
                <a:satOff val="3922"/>
                <a:lumOff val="3834"/>
                <a:alphaOff val="0"/>
                <a:shade val="93000"/>
                <a:satMod val="130000"/>
              </a:schemeClr>
            </a:gs>
            <a:gs pos="100000">
              <a:schemeClr val="accent5">
                <a:shade val="50000"/>
                <a:hueOff val="1296"/>
                <a:satOff val="3922"/>
                <a:lumOff val="383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>
              <a:solidFill>
                <a:schemeClr val="tx1"/>
              </a:solidFill>
            </a:rPr>
            <a:t>Wypłata środków partnerom do </a:t>
          </a:r>
          <a:br>
            <a:rPr lang="pl-PL" sz="1000" kern="1200" dirty="0" smtClean="0">
              <a:solidFill>
                <a:schemeClr val="tx1"/>
              </a:solidFill>
            </a:rPr>
          </a:br>
          <a:r>
            <a:rPr lang="pl-PL" sz="1000" kern="1200" dirty="0" smtClean="0">
              <a:solidFill>
                <a:schemeClr val="tx1"/>
              </a:solidFill>
            </a:rPr>
            <a:t>31 grudnia 2018 r.</a:t>
          </a:r>
        </a:p>
      </dsp:txBody>
      <dsp:txXfrm>
        <a:off x="4194909" y="4233357"/>
        <a:ext cx="1698481" cy="10190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18.05.2018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18.05.2018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4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4.xml"/><Relationship Id="rId4" Type="http://schemas.openxmlformats.org/officeDocument/2006/relationships/image" Target="../media/image47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667121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3163562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0102718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311167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9447392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9535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77555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8455400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186238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5162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483800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6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21.xml"/></Relationships>
</file>

<file path=ppt/slideMasters/_rels/slideMaster4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4.xml"/><Relationship Id="rId1" Type="http://schemas.openxmlformats.org/officeDocument/2006/relationships/slideLayout" Target="../slideLayouts/slideLayout3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8684" r:id="rId1"/>
    <p:sldLayoutId id="2147488685" r:id="rId2"/>
    <p:sldLayoutId id="2147488686" r:id="rId3"/>
    <p:sldLayoutId id="2147488687" r:id="rId4"/>
    <p:sldLayoutId id="2147488688" r:id="rId5"/>
    <p:sldLayoutId id="2147488689" r:id="rId6"/>
    <p:sldLayoutId id="2147488690" r:id="rId7"/>
    <p:sldLayoutId id="2147488691" r:id="rId8"/>
    <p:sldLayoutId id="2147488692" r:id="rId9"/>
    <p:sldLayoutId id="2147488693" r:id="rId10"/>
    <p:sldLayoutId id="21474886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0.xml"/><Relationship Id="rId4" Type="http://schemas.openxmlformats.org/officeDocument/2006/relationships/image" Target="../media/image5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1.xml"/><Relationship Id="rId4" Type="http://schemas.openxmlformats.org/officeDocument/2006/relationships/image" Target="../media/image5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2.xml"/><Relationship Id="rId5" Type="http://schemas.openxmlformats.org/officeDocument/2006/relationships/hyperlink" Target="http://www.lodzkie.ksow.pl/" TargetMode="External"/><Relationship Id="rId4" Type="http://schemas.openxmlformats.org/officeDocument/2006/relationships/image" Target="../media/image5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3.xml"/><Relationship Id="rId4" Type="http://schemas.openxmlformats.org/officeDocument/2006/relationships/image" Target="../media/image5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4.xml"/><Relationship Id="rId4" Type="http://schemas.openxmlformats.org/officeDocument/2006/relationships/image" Target="../media/image5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5.xml"/><Relationship Id="rId4" Type="http://schemas.openxmlformats.org/officeDocument/2006/relationships/image" Target="../media/image5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6.xml"/><Relationship Id="rId4" Type="http://schemas.openxmlformats.org/officeDocument/2006/relationships/image" Target="../media/image5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8.xml"/><Relationship Id="rId4" Type="http://schemas.openxmlformats.org/officeDocument/2006/relationships/image" Target="../media/image5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9.xml"/><Relationship Id="rId4" Type="http://schemas.openxmlformats.org/officeDocument/2006/relationships/image" Target="../media/image5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.xml"/><Relationship Id="rId4" Type="http://schemas.openxmlformats.org/officeDocument/2006/relationships/image" Target="../media/image50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0.xml"/><Relationship Id="rId4" Type="http://schemas.openxmlformats.org/officeDocument/2006/relationships/image" Target="../media/image5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1.xml"/><Relationship Id="rId4" Type="http://schemas.openxmlformats.org/officeDocument/2006/relationships/image" Target="../media/image5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2.xml"/><Relationship Id="rId4" Type="http://schemas.openxmlformats.org/officeDocument/2006/relationships/image" Target="../media/image50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3.xml"/><Relationship Id="rId4" Type="http://schemas.openxmlformats.org/officeDocument/2006/relationships/image" Target="../media/image5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4.xml"/><Relationship Id="rId4" Type="http://schemas.openxmlformats.org/officeDocument/2006/relationships/image" Target="../media/image5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5.xml"/><Relationship Id="rId4" Type="http://schemas.openxmlformats.org/officeDocument/2006/relationships/image" Target="../media/image5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6.xml"/><Relationship Id="rId5" Type="http://schemas.openxmlformats.org/officeDocument/2006/relationships/hyperlink" Target="http://www.lodzkie.ksow.pl/" TargetMode="External"/><Relationship Id="rId4" Type="http://schemas.openxmlformats.org/officeDocument/2006/relationships/image" Target="../media/image5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8.xml"/><Relationship Id="rId5" Type="http://schemas.openxmlformats.org/officeDocument/2006/relationships/image" Target="../media/image53.jpeg"/><Relationship Id="rId4" Type="http://schemas.openxmlformats.org/officeDocument/2006/relationships/image" Target="../media/image50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9.xml"/><Relationship Id="rId6" Type="http://schemas.openxmlformats.org/officeDocument/2006/relationships/image" Target="../media/image54.png"/><Relationship Id="rId5" Type="http://schemas.openxmlformats.org/officeDocument/2006/relationships/hyperlink" Target="http://www.minrol.gov.pl/Wsparcie-rolnictwa/Program-Rozwoju-Obszarow-Wiejskich-2014-2020/Dzialania-informacyjne-PROW-2014-2020/Ksiega-wizualizacji-i-logotypy" TargetMode="External"/><Relationship Id="rId4" Type="http://schemas.openxmlformats.org/officeDocument/2006/relationships/image" Target="../media/image5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.xml"/><Relationship Id="rId4" Type="http://schemas.openxmlformats.org/officeDocument/2006/relationships/image" Target="../media/image50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0.xml"/><Relationship Id="rId6" Type="http://schemas.openxmlformats.org/officeDocument/2006/relationships/hyperlink" Target="https://www.lodzkie.pl/urzad/system-identyfikacji" TargetMode="External"/><Relationship Id="rId5" Type="http://schemas.openxmlformats.org/officeDocument/2006/relationships/image" Target="../media/image55.png"/><Relationship Id="rId4" Type="http://schemas.openxmlformats.org/officeDocument/2006/relationships/image" Target="../media/image5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1.xml"/><Relationship Id="rId5" Type="http://schemas.openxmlformats.org/officeDocument/2006/relationships/image" Target="../media/image56.jpeg"/><Relationship Id="rId4" Type="http://schemas.openxmlformats.org/officeDocument/2006/relationships/image" Target="../media/image50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2.xml"/><Relationship Id="rId5" Type="http://schemas.openxmlformats.org/officeDocument/2006/relationships/image" Target="../media/image57.png"/><Relationship Id="rId4" Type="http://schemas.openxmlformats.org/officeDocument/2006/relationships/image" Target="../media/image50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3.xml"/><Relationship Id="rId4" Type="http://schemas.openxmlformats.org/officeDocument/2006/relationships/image" Target="../media/image50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4.xml"/><Relationship Id="rId4" Type="http://schemas.openxmlformats.org/officeDocument/2006/relationships/image" Target="../media/image50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5.xml"/><Relationship Id="rId4" Type="http://schemas.openxmlformats.org/officeDocument/2006/relationships/image" Target="../media/image50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6.xml"/><Relationship Id="rId4" Type="http://schemas.openxmlformats.org/officeDocument/2006/relationships/image" Target="../media/image50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7.xml"/><Relationship Id="rId4" Type="http://schemas.openxmlformats.org/officeDocument/2006/relationships/image" Target="../media/image50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8.xml"/><Relationship Id="rId4" Type="http://schemas.openxmlformats.org/officeDocument/2006/relationships/image" Target="../media/image50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5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5.xml"/><Relationship Id="rId4" Type="http://schemas.openxmlformats.org/officeDocument/2006/relationships/image" Target="../media/image5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49.png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6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0.emf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7.xml"/><Relationship Id="rId4" Type="http://schemas.openxmlformats.org/officeDocument/2006/relationships/image" Target="../media/image5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8.xml"/><Relationship Id="rId4" Type="http://schemas.openxmlformats.org/officeDocument/2006/relationships/image" Target="../media/image5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9.xml"/><Relationship Id="rId4" Type="http://schemas.openxmlformats.org/officeDocument/2006/relationships/image" Target="../media/image5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95536" y="764704"/>
            <a:ext cx="8208912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>
                <a:solidFill>
                  <a:schemeClr val="bg1"/>
                </a:solidFill>
              </a:rPr>
              <a:t>Podsumowanie </a:t>
            </a:r>
          </a:p>
          <a:p>
            <a:pPr algn="ctr">
              <a:spcAft>
                <a:spcPts val="1200"/>
              </a:spcAft>
            </a:pPr>
            <a:r>
              <a:rPr lang="pl-PL" sz="3600" b="1" dirty="0">
                <a:solidFill>
                  <a:schemeClr val="bg1"/>
                </a:solidFill>
              </a:rPr>
              <a:t>konkursu nr 2/2018 dla partnerów Krajowej Sieci Obszarów Wiejskich na wybór operacji, które będą realizowane w 2018 r. w ramach dwuletniego Planu operacyjnego na lata 2018–2019 </a:t>
            </a: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1371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3528" y="865450"/>
            <a:ext cx="8424936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Wspieranie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rozwoju przedsiębiorczości na obszarach wiejskich przez podnoszenie poziomu wiedzy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umiejętności:</a:t>
            </a:r>
          </a:p>
          <a:p>
            <a:pPr marL="642938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obszarze  małego  przetwórstwa  lokalnego  lub  w  obszarze  rozwoju zielonej gospodarki,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tym tworzenia nowych miejsc pracy – 3 pkt,</a:t>
            </a:r>
          </a:p>
          <a:p>
            <a:pPr marL="642938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obszarach innych niż wskazane w </a:t>
            </a:r>
            <a:r>
              <a:rPr lang="pl-PL" sz="1400" dirty="0" err="1">
                <a:latin typeface="Arial" panose="020B0604020202020204" pitchFamily="34" charset="0"/>
                <a:cs typeface="Arial" panose="020B0604020202020204" pitchFamily="34" charset="0"/>
              </a:rPr>
              <a:t>tiret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 pierwszym – 2 pkt, </a:t>
            </a:r>
          </a:p>
          <a:p>
            <a:pPr algn="just">
              <a:lnSpc>
                <a:spcPct val="150000"/>
              </a:lnSpc>
              <a:tabLst>
                <a:tab pos="357188" algn="l"/>
              </a:tabLst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omocja 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jakości  życia  na  wsi  lub  promocja  wsi  jako  miejsca  do  życia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rozwoju zawodowego – 3 pkt.</a:t>
            </a:r>
          </a:p>
          <a:p>
            <a:pPr algn="just">
              <a:lnSpc>
                <a:spcPct val="150000"/>
              </a:lnSpc>
              <a:tabLst>
                <a:tab pos="357188" algn="l"/>
              </a:tabLst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Wspieranie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rozwoju społeczeństwa cyfrowego na obszarach wiejskich przez podnoszenie poziomu wiedzy w tym zakresie – 2 pkt.</a:t>
            </a:r>
          </a:p>
          <a:p>
            <a:pPr algn="just">
              <a:lnSpc>
                <a:spcPct val="150000"/>
              </a:lnSpc>
              <a:tabLst>
                <a:tab pos="357188" algn="l"/>
              </a:tabLst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spieranie 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tworzenia  sieci  współpracy  partnerskiej  dotyczącej  rolnictwa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obszarów wiejskich przez podnoszenie poziomu wiedzy w tym zakresie – 4 pkt.</a:t>
            </a:r>
          </a:p>
          <a:p>
            <a:pPr algn="just">
              <a:lnSpc>
                <a:spcPct val="150000"/>
              </a:lnSpc>
              <a:tabLst>
                <a:tab pos="357188" algn="l"/>
              </a:tabLst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powszechnianie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wiedzy dotyczącej zarządzania projektami z zakresu rozwoju obszarów wiejskich –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pkt.</a:t>
            </a:r>
          </a:p>
          <a:p>
            <a:pPr algn="just">
              <a:lnSpc>
                <a:spcPct val="150000"/>
              </a:lnSpc>
              <a:tabLst>
                <a:tab pos="357188" algn="l"/>
              </a:tabLst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powszechnianie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wiedzy w zakresie planowania rozwoju lokalnego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z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uwzględnieniem potencjału ekonomicznego, społecznego i środowiskowego danego obszaru – 2 pkt.</a:t>
            </a:r>
          </a:p>
        </p:txBody>
      </p:sp>
      <p:sp>
        <p:nvSpPr>
          <p:cNvPr id="11" name="Prostokąt 10"/>
          <p:cNvSpPr/>
          <p:nvPr/>
        </p:nvSpPr>
        <p:spPr>
          <a:xfrm>
            <a:off x="899591" y="539388"/>
            <a:ext cx="76328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altLang="pl-PL" b="1" dirty="0">
                <a:latin typeface="Arial" panose="020B0604020202020204" pitchFamily="34" charset="0"/>
                <a:cs typeface="Arial" panose="020B0604020202020204" pitchFamily="34" charset="0"/>
              </a:rPr>
              <a:t>Kryteria </a:t>
            </a:r>
            <a:r>
              <a:rPr lang="pl-PL" altLang="pl-PL" b="1" dirty="0" smtClean="0">
                <a:latin typeface="Arial" panose="020B0604020202020204" pitchFamily="34" charset="0"/>
                <a:cs typeface="Arial" panose="020B0604020202020204" pitchFamily="34" charset="0"/>
              </a:rPr>
              <a:t>tematyczne c.d. </a:t>
            </a:r>
            <a:endParaRPr lang="pl-PL" altLang="pl-P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565942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78533" y="476672"/>
            <a:ext cx="8424936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pl-PL" dirty="0"/>
          </a:p>
          <a:p>
            <a:pPr algn="just">
              <a:lnSpc>
                <a:spcPct val="150000"/>
              </a:lnSpc>
            </a:pPr>
            <a:r>
              <a:rPr lang="pl-PL" dirty="0" smtClean="0"/>
              <a:t>W wyniku dokonanej oceny punktowej została utworzona </a:t>
            </a:r>
            <a:r>
              <a:rPr lang="pl-PL" b="1" dirty="0"/>
              <a:t>lista ocenionych operacji</a:t>
            </a:r>
            <a:r>
              <a:rPr lang="pl-PL" dirty="0"/>
              <a:t> </a:t>
            </a:r>
            <a:r>
              <a:rPr lang="pl-PL" dirty="0" smtClean="0"/>
              <a:t>przyjęta </a:t>
            </a:r>
            <a:r>
              <a:rPr lang="pl-PL" dirty="0"/>
              <a:t>przez Zarząd Województwa Łódzkiego uchwałą nr 585/18 Zarządu Województwa Łódzkiego z dnia 25 kwietnia 2018 r. w sprawie </a:t>
            </a:r>
            <a:r>
              <a:rPr lang="pl-PL" i="1" dirty="0"/>
              <a:t>przyjęcia listy ocenionych operacji zgłoszonych przez partnerów KSOW do Jednostki Regionalnej KSOW Województwa Łódzkiego w konkursie nr 2/2018 w ramach Planu Operacyjnego KSOW 2018-2019 Planu Działania Krajowej Sieci Obszarów Wiejskich na lata 2014-2020</a:t>
            </a:r>
            <a:r>
              <a:rPr lang="pl-PL" i="1" dirty="0" smtClean="0"/>
              <a:t>.</a:t>
            </a:r>
          </a:p>
          <a:p>
            <a:pPr algn="just">
              <a:lnSpc>
                <a:spcPct val="150000"/>
              </a:lnSpc>
            </a:pP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926654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78533" y="476672"/>
            <a:ext cx="842493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dirty="0"/>
              <a:t>Na tej podstawie do realizacji w 2018 roku przyjęto spośród złożonych propozycji </a:t>
            </a:r>
            <a:r>
              <a:rPr lang="pl-PL" b="1" dirty="0"/>
              <a:t>10 operacji</a:t>
            </a:r>
            <a:r>
              <a:rPr lang="pl-PL" dirty="0"/>
              <a:t>, na łączną kwotę kosztów kwalifikowalnych </a:t>
            </a:r>
            <a:r>
              <a:rPr lang="pl-PL" b="1" dirty="0"/>
              <a:t>492 684,84 zł.</a:t>
            </a:r>
          </a:p>
          <a:p>
            <a:pPr algn="just">
              <a:lnSpc>
                <a:spcPct val="150000"/>
              </a:lnSpc>
            </a:pPr>
            <a:endParaRPr lang="pl-PL" dirty="0"/>
          </a:p>
          <a:p>
            <a:pPr algn="just">
              <a:lnSpc>
                <a:spcPct val="150000"/>
              </a:lnSpc>
            </a:pPr>
            <a:r>
              <a:rPr lang="pl-PL" dirty="0"/>
              <a:t>Lista ocenionych operacji została ogłoszona na stronie </a:t>
            </a:r>
            <a:r>
              <a:rPr lang="pl-PL" dirty="0">
                <a:hlinkClick r:id="rId5"/>
              </a:rPr>
              <a:t>www.lodzkie.ksow.pl</a:t>
            </a:r>
            <a:r>
              <a:rPr lang="pl-PL" dirty="0"/>
              <a:t> </a:t>
            </a:r>
            <a:br>
              <a:rPr lang="pl-PL" dirty="0"/>
            </a:br>
            <a:r>
              <a:rPr lang="pl-PL" dirty="0"/>
              <a:t>w dniu 30 kwietnia 2018 r. </a:t>
            </a:r>
          </a:p>
          <a:p>
            <a:pPr algn="just">
              <a:lnSpc>
                <a:spcPct val="150000"/>
              </a:lnSpc>
            </a:pPr>
            <a:endParaRPr lang="pl-PL" dirty="0"/>
          </a:p>
          <a:p>
            <a:pPr algn="just">
              <a:lnSpc>
                <a:spcPct val="150000"/>
              </a:lnSpc>
            </a:pPr>
            <a:r>
              <a:rPr lang="pl-PL" b="1" dirty="0"/>
              <a:t>W roku 2018 wszystkie projekty zostaną zrealizowane do: </a:t>
            </a:r>
          </a:p>
          <a:p>
            <a:pPr algn="just">
              <a:lnSpc>
                <a:spcPct val="150000"/>
              </a:lnSpc>
            </a:pPr>
            <a:r>
              <a:rPr lang="pl-PL" b="1" dirty="0"/>
              <a:t>31 października 2018 r. </a:t>
            </a:r>
            <a:endParaRPr lang="pl-PL" b="1" dirty="0" smtClean="0"/>
          </a:p>
          <a:p>
            <a:pPr algn="just">
              <a:lnSpc>
                <a:spcPct val="150000"/>
              </a:lnSpc>
            </a:pPr>
            <a:endParaRPr lang="pl-PL" b="1" dirty="0"/>
          </a:p>
          <a:p>
            <a:pPr algn="just">
              <a:lnSpc>
                <a:spcPct val="150000"/>
              </a:lnSpc>
            </a:pPr>
            <a:r>
              <a:rPr lang="pl-PL" dirty="0"/>
              <a:t>Wsparcie finansowe ze środków KSOW otrzymają operacje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77308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914945"/>
              </p:ext>
            </p:extLst>
          </p:nvPr>
        </p:nvGraphicFramePr>
        <p:xfrm>
          <a:off x="395536" y="1772817"/>
          <a:ext cx="8424936" cy="2746014"/>
        </p:xfrm>
        <a:graphic>
          <a:graphicData uri="http://schemas.openxmlformats.org/drawingml/2006/table">
            <a:tbl>
              <a:tblPr firstRow="1" firstCol="1" bandRow="1"/>
              <a:tblGrid>
                <a:gridCol w="661189">
                  <a:extLst>
                    <a:ext uri="{9D8B030D-6E8A-4147-A177-3AD203B41FA5}">
                      <a16:colId xmlns:a16="http://schemas.microsoft.com/office/drawing/2014/main" val="3273406414"/>
                    </a:ext>
                  </a:extLst>
                </a:gridCol>
                <a:gridCol w="1081900">
                  <a:extLst>
                    <a:ext uri="{9D8B030D-6E8A-4147-A177-3AD203B41FA5}">
                      <a16:colId xmlns:a16="http://schemas.microsoft.com/office/drawing/2014/main" val="4167768940"/>
                    </a:ext>
                  </a:extLst>
                </a:gridCol>
                <a:gridCol w="1353255">
                  <a:extLst>
                    <a:ext uri="{9D8B030D-6E8A-4147-A177-3AD203B41FA5}">
                      <a16:colId xmlns:a16="http://schemas.microsoft.com/office/drawing/2014/main" val="1067093483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487491638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4259959087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198904595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3814422106"/>
                    </a:ext>
                  </a:extLst>
                </a:gridCol>
              </a:tblGrid>
              <a:tr h="6261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P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ARTNER KSOW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YTUŁ OPERACJI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NIOSKOWANA KWOTA 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UNKTY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MA OPERACJI</a:t>
                      </a:r>
                      <a:endParaRPr lang="pl-PL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PIS</a:t>
                      </a:r>
                      <a:endParaRPr lang="pl-PL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936563"/>
                  </a:ext>
                </a:extLst>
              </a:tr>
              <a:tr h="18221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Łódzka Sieć Lokalnych Grup Działania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izyta studyjna dla pracowników i członków lokalnych grup działania z terenu woj. łódzkiego do LGD Partnerstwo Ducha Gór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9 004,00 zł 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yjazd studyjny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yjazd odbędzie się na obszar działania LGD Partnerstwo Ducha Gór, które</a:t>
                      </a:r>
                      <a:r>
                        <a:rPr lang="pl-PL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obejmuje</a:t>
                      </a: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8 gmin z terenu powiatu jeleniogórskiego (województwo dolnośląskie).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1000" dirty="0" smtClean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elem operacji</a:t>
                      </a:r>
                      <a:r>
                        <a:rPr lang="pl-PL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jest p</a:t>
                      </a: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dniesienie poziomu wiedzy nt. współpracy międzyregionalnej oraz wzrost zaangażowania uczestników wizyty studyjnej na rzecz łódzkiej sieci lokalnych grupa działania poprzez udział w warsztatach i spotkaniach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285424"/>
                  </a:ext>
                </a:extLst>
              </a:tr>
            </a:tbl>
          </a:graphicData>
        </a:graphic>
      </p:graphicFrame>
      <p:sp>
        <p:nvSpPr>
          <p:cNvPr id="10" name="Prostokąt 9"/>
          <p:cNvSpPr/>
          <p:nvPr/>
        </p:nvSpPr>
        <p:spPr>
          <a:xfrm>
            <a:off x="323528" y="548680"/>
            <a:ext cx="835292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400" b="1" dirty="0" smtClean="0"/>
              <a:t>Działanie </a:t>
            </a:r>
            <a:r>
              <a:rPr lang="pl-PL" sz="1400" b="1" dirty="0"/>
              <a:t>4 </a:t>
            </a:r>
            <a:r>
              <a:rPr lang="pl-PL" sz="1400" dirty="0"/>
              <a:t>„Szkolenia i działania na rzecz tworzenia sieci kontaktów dla Lokalnych Grup Działania (LGD), w tym zapewnianie pomocy technicznej w zakresie współpracy </a:t>
            </a:r>
            <a:r>
              <a:rPr lang="pl-PL" sz="1400" dirty="0" err="1"/>
              <a:t>międzyterytorialnej</a:t>
            </a:r>
            <a:r>
              <a:rPr lang="pl-PL" sz="1400" dirty="0"/>
              <a:t> i międzynarodowej</a:t>
            </a:r>
            <a:r>
              <a:rPr lang="pl-PL" sz="1400" dirty="0" smtClean="0"/>
              <a:t>”</a:t>
            </a:r>
            <a:endParaRPr lang="pl-PL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058015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9135720"/>
              </p:ext>
            </p:extLst>
          </p:nvPr>
        </p:nvGraphicFramePr>
        <p:xfrm>
          <a:off x="395536" y="1052736"/>
          <a:ext cx="8424936" cy="4167361"/>
        </p:xfrm>
        <a:graphic>
          <a:graphicData uri="http://schemas.openxmlformats.org/drawingml/2006/table">
            <a:tbl>
              <a:tblPr firstRow="1" firstCol="1" bandRow="1"/>
              <a:tblGrid>
                <a:gridCol w="344880">
                  <a:extLst>
                    <a:ext uri="{9D8B030D-6E8A-4147-A177-3AD203B41FA5}">
                      <a16:colId xmlns:a16="http://schemas.microsoft.com/office/drawing/2014/main" val="2133312558"/>
                    </a:ext>
                  </a:extLst>
                </a:gridCol>
                <a:gridCol w="862201">
                  <a:extLst>
                    <a:ext uri="{9D8B030D-6E8A-4147-A177-3AD203B41FA5}">
                      <a16:colId xmlns:a16="http://schemas.microsoft.com/office/drawing/2014/main" val="2926069973"/>
                    </a:ext>
                  </a:extLst>
                </a:gridCol>
                <a:gridCol w="1601231">
                  <a:extLst>
                    <a:ext uri="{9D8B030D-6E8A-4147-A177-3AD203B41FA5}">
                      <a16:colId xmlns:a16="http://schemas.microsoft.com/office/drawing/2014/main" val="169109416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572006611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939019061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404081146"/>
                    </a:ext>
                  </a:extLst>
                </a:gridCol>
                <a:gridCol w="3456384">
                  <a:extLst>
                    <a:ext uri="{9D8B030D-6E8A-4147-A177-3AD203B41FA5}">
                      <a16:colId xmlns:a16="http://schemas.microsoft.com/office/drawing/2014/main" val="2732241051"/>
                    </a:ext>
                  </a:extLst>
                </a:gridCol>
              </a:tblGrid>
              <a:tr h="4699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P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RTNER KSOW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YTUŁ OPERACJI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NIOSKOWANA KWOTA </a:t>
                      </a:r>
                      <a:endParaRPr lang="pl-PL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NKTY</a:t>
                      </a:r>
                      <a:endParaRPr lang="pl-PL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MA OPERACJI</a:t>
                      </a:r>
                      <a:endParaRPr lang="pl-PL" sz="8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PIS</a:t>
                      </a:r>
                      <a:endParaRPr lang="pl-PL" sz="9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906958"/>
                  </a:ext>
                </a:extLst>
              </a:tr>
              <a:tr h="56761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pl-P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wiat Piotrkowski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lorystyka - szansa na rozwój i pracę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 499,98 zł 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arsztaty </a:t>
                      </a: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onkurs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racja zakłada dwudniowe warsztaty z zakresu florystyki i przedsiębiorczości, zakończone konkursem, które odbędą się w Czarnocinie, 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łównym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założeniem partnera jest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zwój przedsiębiorczości na wybranym obszarze wiejskim. Uczestnikami będzie 60 osób: młodzież gimnazjalna i dorośli.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141335"/>
                  </a:ext>
                </a:extLst>
              </a:tr>
              <a:tr h="17321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pl-P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niwersytet Łódzki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trzeby i możliwości rozwoju oferty wypoczynkowej i terapeutyczno-opiekuńczej dla seniorów w gospodarstwach agroturystycznych w województwie łódzkim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 138,13 zł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dani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racja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zakłada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badanie potrzeb oraz możliwości rozwoju oferty rekreacyjno-wypoczynkowej i terapeutyczno-opiekuńczej dla seniorów w gospodarstwach agroturystycznych w województwie łódzkim. Badania skierowane zostaną do pięciu grup: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niorów, właścicieli gospodarstw agroturystycznych, kierowników domów pomocy społecznej, zarządów stowarzyszeń agroturystycznych i doradców rolniczych, aby pokazać rzeczywisty stopień ich zainteresowania proponowaną inicjatywą.</a:t>
                      </a: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829654"/>
                  </a:ext>
                </a:extLst>
              </a:tr>
              <a:tr h="11498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kalna Grupa Działania "Podkowa"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ymiana dobrych praktyk pomiędzy mieszkańcami LGD "Podkowa" a LGD "Zielone Bieszczady" - wizyta stud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 000,00 zł 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yjazd studyjny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czestnikami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wyjazdu będą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kalni liderzy z terenu działania LGD „Podkowa” – 50 osób.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elem wyjazdu jest p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dniesienie poziomu wiedzy i doświadczenia w zakresie lokalnych działalności pozarolniczych, wykorzystanie potencjału odwiedzanego terenu na rzecz swojej społeczności oraz promowanie włączenia społecznego i rozwoju gospodarczego na obszarze LGD „Podkowa”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5825180"/>
                  </a:ext>
                </a:extLst>
              </a:tr>
            </a:tbl>
          </a:graphicData>
        </a:graphic>
      </p:graphicFrame>
      <p:sp>
        <p:nvSpPr>
          <p:cNvPr id="7" name="Prostokąt 6"/>
          <p:cNvSpPr/>
          <p:nvPr/>
        </p:nvSpPr>
        <p:spPr>
          <a:xfrm>
            <a:off x="323528" y="476672"/>
            <a:ext cx="83529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400" b="1" dirty="0"/>
              <a:t>Działanie 6 </a:t>
            </a:r>
            <a:r>
              <a:rPr lang="pl-PL" sz="1400" dirty="0"/>
              <a:t>„Ułatwianie wymiany wiedzy pomiędzy podmiotami uczestniczącymi w rozwoju obszarów wiejskich oraz wymiana i rozpowszechnianie rezultatów działań na rzecz tego rozwoju</a:t>
            </a:r>
            <a:r>
              <a:rPr lang="pl-PL" sz="1400" dirty="0" smtClean="0"/>
              <a:t>”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940571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Prostokąt 9"/>
          <p:cNvSpPr/>
          <p:nvPr/>
        </p:nvSpPr>
        <p:spPr>
          <a:xfrm>
            <a:off x="323528" y="476672"/>
            <a:ext cx="83529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400" b="1" dirty="0"/>
              <a:t>Działanie 6 </a:t>
            </a:r>
            <a:r>
              <a:rPr lang="pl-PL" sz="1400" dirty="0"/>
              <a:t>„Ułatwianie wymiany wiedzy pomiędzy podmiotami uczestniczącymi w rozwoju obszarów wiejskich oraz wymiana i rozpowszechnianie rezultatów działań na rzecz tego rozwoju</a:t>
            </a:r>
            <a:r>
              <a:rPr lang="pl-PL" sz="1400" dirty="0" smtClean="0"/>
              <a:t>”</a:t>
            </a: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1003690"/>
              </p:ext>
            </p:extLst>
          </p:nvPr>
        </p:nvGraphicFramePr>
        <p:xfrm>
          <a:off x="467544" y="1124531"/>
          <a:ext cx="8280920" cy="4464709"/>
        </p:xfrm>
        <a:graphic>
          <a:graphicData uri="http://schemas.openxmlformats.org/drawingml/2006/table">
            <a:tbl>
              <a:tblPr firstRow="1" firstCol="1" bandRow="1"/>
              <a:tblGrid>
                <a:gridCol w="360040">
                  <a:extLst>
                    <a:ext uri="{9D8B030D-6E8A-4147-A177-3AD203B41FA5}">
                      <a16:colId xmlns:a16="http://schemas.microsoft.com/office/drawing/2014/main" val="2133312558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926069973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69109416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57200661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93901906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46437725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val="3388701876"/>
                    </a:ext>
                  </a:extLst>
                </a:gridCol>
              </a:tblGrid>
              <a:tr h="5176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P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RTNER KSOW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YTUŁ OPERACJI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NIOSKOWANA KWOTA 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NKTY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MA OPERACJI</a:t>
                      </a:r>
                      <a:endParaRPr lang="pl-PL" sz="9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PIS</a:t>
                      </a:r>
                      <a:endParaRPr lang="pl-PL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906958"/>
                  </a:ext>
                </a:extLst>
              </a:tr>
              <a:tr h="13705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lobal Point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ligentny rozwój obszarów wiejskich ("smart </a:t>
                      </a:r>
                      <a:r>
                        <a:rPr lang="pl-PL" sz="1000" dirty="0" err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ural</a:t>
                      </a: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velopment"): koncepcja, wymiary, metody. Ekspertyza naukow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9 796,50 zł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adani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jekt zakłada wykonanie analizy oraz przygotowanie ekspertyzy nt. inteligentnego rozwoju obszarów wiejskich („smart </a:t>
                      </a:r>
                      <a:r>
                        <a:rPr lang="pl-PL" sz="10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ural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development”) na terenie województwa łódzkiego. Grupę docelową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tanowią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amorządy wszystkich gmin wiejskich województwa łódzkiego. Upowszechnienie ekspertyzy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zwoli samorządom wiejskim poznać liderów oraz dobre praktyki w zakresie wdrażania zasad inteligentnego rozwoju obszarów wiejskich.</a:t>
                      </a: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387923"/>
                  </a:ext>
                </a:extLst>
              </a:tr>
              <a:tr h="11677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wiat Piotrkowski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dział w targach rolniczych szansą na wprowadzenie innowacyjnych rozwiązań na obszarach wiejskich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2 400,00 zł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yjazd studyjny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yjazd odbędzie się na targi rolnicze Agro Show w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Bednarach, weźmie w nim udział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0 osób z powiatu piotrkowskiego zajmujących się produkcją rolną i chcących wprowadzać innowacyjne rozwiązania oraz unowocześniać linie produkcyjne. Celem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ojektu jest u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wszechnienie wiedzy w zakresie innowacyjnych rozwiązań w rolnictwie wśród mieszkańców powiatu piotrkowskiego.</a:t>
                      </a: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658830"/>
                  </a:ext>
                </a:extLst>
              </a:tr>
              <a:tr h="140873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mina Uniejów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„Od pomysłu do biznesu” Konferencja lokalnych produktów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4 749,06 zł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nferencja i szkolenie, publikacj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racja obejmuje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zkolenie z pokazem kulinarnym, konferencję i publikację,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jest skierowana do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0 osób: rolników, lokalnych przetwórców spożywczych, mieszkańców obszarów wiejskich gminy Uniejów, restauratorów, hotelarzy i kucharzy. Celem projektu jest stworzenie możliwości podniesienia wiedzy, skorzystania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 doświadczeń zagranicznych organizacji oraz aktywizacja mieszkańców obszarów wiejskich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pl-PL" sz="10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22433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4287844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565562"/>
              </p:ext>
            </p:extLst>
          </p:nvPr>
        </p:nvGraphicFramePr>
        <p:xfrm>
          <a:off x="467544" y="908720"/>
          <a:ext cx="8280920" cy="4676738"/>
        </p:xfrm>
        <a:graphic>
          <a:graphicData uri="http://schemas.openxmlformats.org/drawingml/2006/table">
            <a:tbl>
              <a:tblPr firstRow="1" firstCol="1" bandRow="1"/>
              <a:tblGrid>
                <a:gridCol w="347495">
                  <a:extLst>
                    <a:ext uri="{9D8B030D-6E8A-4147-A177-3AD203B41FA5}">
                      <a16:colId xmlns:a16="http://schemas.microsoft.com/office/drawing/2014/main" val="2133312558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92606997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169109416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57200661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93901906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46437725"/>
                    </a:ext>
                  </a:extLst>
                </a:gridCol>
                <a:gridCol w="3468929">
                  <a:extLst>
                    <a:ext uri="{9D8B030D-6E8A-4147-A177-3AD203B41FA5}">
                      <a16:colId xmlns:a16="http://schemas.microsoft.com/office/drawing/2014/main" val="3388701876"/>
                    </a:ext>
                  </a:extLst>
                </a:gridCol>
              </a:tblGrid>
              <a:tr h="4776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P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RTNER KSOW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YTUŁ OPERACJI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NIOSKOWANA KWOTA 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NKTY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ORMA OPERACJI</a:t>
                      </a:r>
                      <a:endParaRPr lang="pl-PL" sz="9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PIS</a:t>
                      </a:r>
                      <a:endParaRPr lang="pl-PL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906958"/>
                  </a:ext>
                </a:extLst>
              </a:tr>
              <a:tr h="14496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5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pl-PL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ojewódzki Związek Pszczelarzy w Łodzi </a:t>
                      </a:r>
                      <a:endParaRPr lang="pl-PL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kalne gospodarki pasieczne w województwie łódzkim i okręgu lwowskim - wymiana doświadczeń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 348,80 zł 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9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yjazd studyjny</a:t>
                      </a:r>
                      <a:endParaRPr lang="pl-PL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 ramach operacji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osób (pszczelarze i osoby związane z pszczelarstwem z obszaru województwa łódzkiego)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wyjedzie na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Ukrainę.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Wyjazd ma na celu wspieranie współpracy i wymianę wiedzy i doświadczeń pszczelarzy z Polski i Ukrainy – kraju, który zajmuje jedno z wiodących miejsc w zakresie produkowania miodu w Europie.</a:t>
                      </a:r>
                      <a:endParaRPr lang="pl-PL" sz="10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387923"/>
                  </a:ext>
                </a:extLst>
              </a:tr>
              <a:tr h="14496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5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pl-PL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zba Rolnicza Województwa Łódzkiego</a:t>
                      </a:r>
                      <a:endParaRPr lang="pl-PL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zkolenia dla liderów obszarów wiejskich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 880,00 zł 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9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zkolenie</a:t>
                      </a:r>
                      <a:endParaRPr lang="pl-PL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jekt zakłada zorganizowanie czterech szkoleń w powiatach: skierniewickim, kutnowskim, piotrkowskim, łaskim, a tym samym przeszkolenie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0 osób (80 osób na każdym szkoleniu): liderów obszarów wiejskich, rolnicy, sołtysów, osoby aktywne w swoich społecznościach. Celem spotkań będzie między innymi przekazanie informacji na temat działań, z których mogą skorzystać producenci rolni, wskazanie perspektyw dla nich, wymiana doświadczeń oraz aktywizacja liderów. </a:t>
                      </a: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658830"/>
                  </a:ext>
                </a:extLst>
              </a:tr>
              <a:tr h="12998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5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pl-PL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zba Rolnicza Województwa Łódzkiego</a:t>
                      </a:r>
                      <a:endParaRPr lang="pl-PL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yjazd studyjny rolników na targi ziemniaczane </a:t>
                      </a: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„</a:t>
                      </a:r>
                      <a:r>
                        <a:rPr lang="pl-PL" sz="1000" dirty="0" err="1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tato</a:t>
                      </a: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Europe” </a:t>
                      </a: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8 -</a:t>
                      </a:r>
                      <a:r>
                        <a:rPr lang="pl-PL" sz="1000" dirty="0" err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anover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8 868,37 zł 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pl-P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yjazd studyjny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 wyjeździe weźmie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udział</a:t>
                      </a:r>
                      <a:endParaRPr lang="pl-PL" sz="10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 osób, w tym rolnicy producenci ziemniaków oraz rolnicy planujący zmienić profil gospodarowania na produkcję ziemniaka. Celem wyjazdu będzie zapoznanie się z sytuacją na europejskim rynku ziemniaka, aby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lnicy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z Łódzkiego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mogli konkurować</a:t>
                      </a:r>
                      <a:r>
                        <a:rPr lang="pl-PL" sz="10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a skalę międzynarodową i podnosić jakość oferowanych produktów</a:t>
                      </a:r>
                      <a:r>
                        <a:rPr lang="pl-PL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28542" marR="2854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224339"/>
                  </a:ext>
                </a:extLst>
              </a:tr>
            </a:tbl>
          </a:graphicData>
        </a:graphic>
      </p:graphicFrame>
      <p:sp>
        <p:nvSpPr>
          <p:cNvPr id="7" name="Prostokąt 6"/>
          <p:cNvSpPr/>
          <p:nvPr/>
        </p:nvSpPr>
        <p:spPr>
          <a:xfrm>
            <a:off x="264065" y="542958"/>
            <a:ext cx="85689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400" b="1" dirty="0"/>
              <a:t>Działanie 9 </a:t>
            </a:r>
            <a:r>
              <a:rPr lang="pl-PL" sz="1400" dirty="0"/>
              <a:t>„Wspieranie współpracy w sektorze rolnym i realizacji przez rolników wspólnych inwestycji</a:t>
            </a:r>
            <a:r>
              <a:rPr lang="pl-PL" sz="1400" dirty="0" smtClean="0"/>
              <a:t>”</a:t>
            </a:r>
            <a:endParaRPr lang="pl-PL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200816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467544" y="1556792"/>
            <a:ext cx="82089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1200"/>
              </a:spcAft>
            </a:pPr>
            <a:r>
              <a:rPr lang="pl-PL" sz="3600" b="1" dirty="0">
                <a:solidFill>
                  <a:srgbClr val="FFFFFF"/>
                </a:solidFill>
              </a:rPr>
              <a:t>Najważniejsze informacje z zakresu realizacji operacji ze środków KSOW</a:t>
            </a: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14674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50" y="167693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Prostokąt 8"/>
          <p:cNvSpPr/>
          <p:nvPr/>
        </p:nvSpPr>
        <p:spPr>
          <a:xfrm>
            <a:off x="402815" y="1556792"/>
            <a:ext cx="82914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1200"/>
              </a:spcAft>
              <a:defRPr/>
            </a:pPr>
            <a:r>
              <a:rPr lang="pl-PL" sz="3200" b="1" dirty="0" smtClean="0">
                <a:solidFill>
                  <a:srgbClr val="DA1C5C"/>
                </a:solidFill>
              </a:rPr>
              <a:t>Realizacja operacji</a:t>
            </a:r>
            <a:endParaRPr lang="pl-PL" sz="3200" b="1" dirty="0">
              <a:solidFill>
                <a:srgbClr val="DA1C5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340058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3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253408" y="6442502"/>
            <a:ext cx="659026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-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-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336073" y="975663"/>
            <a:ext cx="842493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by właściwie zrealizować operację, Partner musi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yłonić wykonawcę 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– firmę, która w jego imieniu wykona zadanie</a:t>
            </a:r>
            <a:r>
              <a:rPr kumimoji="0" lang="pl-PL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(p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rtner nie może samodzielnie realizować</a:t>
            </a:r>
            <a:r>
              <a:rPr kumimoji="0" lang="pl-PL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zadań i opłacać ich, bez pośrednictwa odpowiednio wybranej firmy/usługodawców).</a:t>
            </a:r>
            <a:endParaRPr kumimoji="0" lang="pl-PL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 tym celu Partner musi trzymać się odpowiednich procedur, zgodnych z jego wewnętrznym regulaminem udzielania zamówień publicznych, przepisami Prawa zamówień publicznych </a:t>
            </a:r>
            <a:b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 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ozporządzenia w sprawie szczegółowych warunków i trybu konkurencyjnego wyboru 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ykonawców (…). Po wyłonieniu firmy i podpisaniu z nią umowy rozpoczyna się realizacja operacji. </a:t>
            </a: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sz="1400" dirty="0">
              <a:solidFill>
                <a:srgbClr val="000000"/>
              </a:solidFill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artner czuwa nad realizacją operacji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:</a:t>
            </a: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zwraca uwagę na zapisy umowy z JR KSOW WŁ,</a:t>
            </a: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wadzi oddzielny system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achunkowości 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/ korzysta 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z odpowiedniego kodu 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achunkowego,</a:t>
            </a: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ba o poprawne 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ykonanie zadań ujętych w zestawieniu rzeczowo-finansowym 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peracji, </a:t>
            </a:r>
          </a:p>
          <a:p>
            <a:pPr marL="285750" marR="0" lvl="0" indent="-28575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zwraca uwagę na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tosowanie oznaczeń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zgodnie z wymogami określonymi w „Księdze Wizualizacji znaku PROW na lata 2014–2020” i Systemie Identyfikacji Wizualnej Województwa Łódzkiego</a:t>
            </a: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</a:t>
            </a:r>
          </a:p>
        </p:txBody>
      </p:sp>
      <p:sp>
        <p:nvSpPr>
          <p:cNvPr id="6" name="Prostokąt 5"/>
          <p:cNvSpPr/>
          <p:nvPr/>
        </p:nvSpPr>
        <p:spPr>
          <a:xfrm>
            <a:off x="507584" y="350989"/>
            <a:ext cx="373852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alizacja operacji </a:t>
            </a:r>
            <a:endParaRPr kumimoji="0" 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722093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01191" y="843677"/>
            <a:ext cx="844727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dirty="0" smtClean="0"/>
              <a:t>Konkurs </a:t>
            </a:r>
            <a:r>
              <a:rPr lang="pl-PL" dirty="0"/>
              <a:t>nr 2/2018 dla partnerów Krajowej Sieci Obszarów Wiejskich na wybór operacji, które będą realizowane w 2018 r. w ramach dwuletniego planu operacyjnego na lata </a:t>
            </a:r>
            <a:r>
              <a:rPr lang="pl-PL" dirty="0" smtClean="0"/>
              <a:t>2018-2019</a:t>
            </a:r>
            <a:r>
              <a:rPr lang="pl-PL" dirty="0"/>
              <a:t> </a:t>
            </a:r>
            <a:r>
              <a:rPr lang="pl-PL" dirty="0" smtClean="0"/>
              <a:t>został ogłoszony </a:t>
            </a:r>
            <a:r>
              <a:rPr lang="pl-PL" dirty="0"/>
              <a:t>przez Ministra </a:t>
            </a:r>
            <a:r>
              <a:rPr lang="pl-PL" dirty="0" smtClean="0"/>
              <a:t>Rolnictwa</a:t>
            </a:r>
            <a:br>
              <a:rPr lang="pl-PL" dirty="0" smtClean="0"/>
            </a:br>
            <a:r>
              <a:rPr lang="pl-PL" dirty="0" smtClean="0"/>
              <a:t> </a:t>
            </a:r>
            <a:r>
              <a:rPr lang="pl-PL" dirty="0"/>
              <a:t>i Rozwoju Wsi </a:t>
            </a:r>
            <a:r>
              <a:rPr lang="pl-PL" dirty="0" smtClean="0"/>
              <a:t>w dniu 4 stycznia 2018 r. </a:t>
            </a:r>
            <a:r>
              <a:rPr lang="pl-PL" b="1" dirty="0" smtClean="0"/>
              <a:t>z terminem składania wniosków:</a:t>
            </a:r>
          </a:p>
          <a:p>
            <a:pPr algn="just">
              <a:lnSpc>
                <a:spcPct val="150000"/>
              </a:lnSpc>
            </a:pPr>
            <a:r>
              <a:rPr lang="pl-PL" b="1" dirty="0" smtClean="0"/>
              <a:t>od 22 stycznia do 6 lutego 2018 r. </a:t>
            </a:r>
          </a:p>
          <a:p>
            <a:pPr algn="just">
              <a:lnSpc>
                <a:spcPct val="150000"/>
              </a:lnSpc>
            </a:pP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374749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1510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/>
          <p:cNvSpPr/>
          <p:nvPr/>
        </p:nvSpPr>
        <p:spPr>
          <a:xfrm>
            <a:off x="507584" y="395953"/>
            <a:ext cx="564609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pl-PL" sz="3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sady finansowania operacji</a:t>
            </a:r>
            <a:r>
              <a:rPr lang="pl-PL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sp>
        <p:nvSpPr>
          <p:cNvPr id="5" name="Prostokąt 4"/>
          <p:cNvSpPr/>
          <p:nvPr/>
        </p:nvSpPr>
        <p:spPr>
          <a:xfrm>
            <a:off x="395535" y="1166843"/>
            <a:ext cx="8424937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sz="1400" dirty="0" smtClean="0"/>
              <a:t>Na mocy zawieranej z umowy partner </a:t>
            </a:r>
            <a:r>
              <a:rPr lang="pl-PL" sz="1400" dirty="0"/>
              <a:t>KSOW zobowiązuje się do prowadzenia </a:t>
            </a:r>
            <a:r>
              <a:rPr lang="pl-PL" sz="1400" b="1" dirty="0"/>
              <a:t>oddzielnego systemu rachunkowości</a:t>
            </a:r>
            <a:r>
              <a:rPr lang="pl-PL" sz="1400" dirty="0"/>
              <a:t> albo </a:t>
            </a:r>
            <a:r>
              <a:rPr lang="pl-PL" sz="1400" b="1" dirty="0"/>
              <a:t>korzystania z odpowiedniego kodu rachunkowego</a:t>
            </a:r>
            <a:r>
              <a:rPr lang="pl-PL" sz="1400" dirty="0"/>
              <a:t>, o których mowa w art. 66 ust.1 lit. c pkt i rozporządzenia 1305/2013 dla transakcji związanych z operacją obejmujących koszty kwalifikowalne </a:t>
            </a:r>
            <a:r>
              <a:rPr lang="pl-PL" sz="1400" dirty="0" smtClean="0"/>
              <a:t>albo (w </a:t>
            </a:r>
            <a:r>
              <a:rPr lang="pl-PL" sz="1400" dirty="0"/>
              <a:t>przypadku gdy na podstawie odrębnych przepisów Partner KSOW nie jest obowiązany do prowadzenia ksiąg </a:t>
            </a:r>
            <a:r>
              <a:rPr lang="pl-PL" sz="1400" dirty="0" smtClean="0"/>
              <a:t>rachunkowych) </a:t>
            </a:r>
            <a:r>
              <a:rPr lang="pl-PL" sz="1400" dirty="0"/>
              <a:t>prowadzenia zestawienia faktur lub równoważnych dokumentów księgowych, tak, </a:t>
            </a:r>
            <a:r>
              <a:rPr lang="pl-PL" sz="1400" b="1" dirty="0"/>
              <a:t>aby możliwa była identyfikacja poszczególnych kosztów kwalifikowalnych związanych z operacją</a:t>
            </a:r>
            <a:r>
              <a:rPr lang="pl-PL" sz="1400" dirty="0" smtClean="0"/>
              <a:t>. </a:t>
            </a:r>
          </a:p>
          <a:p>
            <a:pPr algn="just">
              <a:lnSpc>
                <a:spcPct val="150000"/>
              </a:lnSpc>
            </a:pPr>
            <a:endParaRPr lang="pl-PL" sz="1400" dirty="0"/>
          </a:p>
          <a:p>
            <a:pPr algn="just">
              <a:lnSpc>
                <a:spcPct val="150000"/>
              </a:lnSpc>
            </a:pPr>
            <a:r>
              <a:rPr lang="pl-PL" sz="1400" b="1" dirty="0" smtClean="0"/>
              <a:t>W przypadku nieuwzględnienia </a:t>
            </a:r>
            <a:r>
              <a:rPr lang="pl-PL" sz="1400" b="1" dirty="0"/>
              <a:t>transakcji w oddzielnym systemie </a:t>
            </a:r>
            <a:r>
              <a:rPr lang="pl-PL" sz="1400" b="1" dirty="0" smtClean="0"/>
              <a:t>rachunkowości</a:t>
            </a:r>
            <a:r>
              <a:rPr lang="pl-PL" sz="1400" b="1" dirty="0"/>
              <a:t> </a:t>
            </a:r>
            <a:r>
              <a:rPr lang="pl-PL" sz="1400" b="1" dirty="0" smtClean="0"/>
              <a:t>kwota </a:t>
            </a:r>
            <a:r>
              <a:rPr lang="pl-PL" sz="1400" b="1" dirty="0"/>
              <a:t>refundacji kosztów jest pomniejszana o kwotę </a:t>
            </a:r>
            <a:r>
              <a:rPr lang="pl-PL" sz="1400" b="1" dirty="0" smtClean="0"/>
              <a:t>10</a:t>
            </a:r>
            <a:r>
              <a:rPr lang="pl-PL" sz="1400" b="1" dirty="0"/>
              <a:t>% kosztu każdej takiej </a:t>
            </a:r>
            <a:r>
              <a:rPr lang="pl-PL" sz="1400" b="1" dirty="0" smtClean="0"/>
              <a:t>transakcji.</a:t>
            </a:r>
            <a:endParaRPr lang="pl-PL" sz="1400" b="1" dirty="0"/>
          </a:p>
          <a:p>
            <a:pPr algn="just">
              <a:lnSpc>
                <a:spcPct val="150000"/>
              </a:lnSpc>
            </a:pPr>
            <a:endParaRPr lang="pl-PL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357819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3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253408" y="6442502"/>
            <a:ext cx="659026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-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-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251520" y="620688"/>
            <a:ext cx="8568952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walifikowalność kosztów </a:t>
            </a:r>
            <a:r>
              <a:rPr kumimoji="0" lang="pl-PL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peracji</a:t>
            </a:r>
          </a:p>
          <a:p>
            <a:pPr lvl="0" algn="just">
              <a:lnSpc>
                <a:spcPct val="150000"/>
              </a:lnSpc>
            </a:pPr>
            <a:endParaRPr lang="pl-PL" sz="14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</a:pPr>
            <a:r>
              <a:rPr lang="pl-PL" sz="1400" dirty="0" smtClean="0">
                <a:solidFill>
                  <a:srgbClr val="000000"/>
                </a:solidFill>
              </a:rPr>
              <a:t>Kwalifikowalność kosztów operacji jest określona w Podręczniku kwalifikowalności kosztów pomocy technicznej PROW 2014–2020, zamieszczonym na stronie internetowej </a:t>
            </a:r>
            <a:r>
              <a:rPr lang="pl-PL" sz="1400" dirty="0" err="1" smtClean="0">
                <a:solidFill>
                  <a:srgbClr val="000000"/>
                </a:solidFill>
              </a:rPr>
              <a:t>MRiRW</a:t>
            </a:r>
            <a:r>
              <a:rPr lang="pl-PL" sz="1400" dirty="0" smtClean="0">
                <a:solidFill>
                  <a:srgbClr val="000000"/>
                </a:solidFill>
              </a:rPr>
              <a:t> i JR KSOW WŁ. </a:t>
            </a:r>
          </a:p>
          <a:p>
            <a:pPr lvl="0" algn="just">
              <a:lnSpc>
                <a:spcPct val="150000"/>
              </a:lnSpc>
            </a:pPr>
            <a:endParaRPr lang="pl-PL" sz="14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</a:pPr>
            <a:r>
              <a:rPr lang="pl-PL" sz="1400" b="1" dirty="0" smtClean="0">
                <a:solidFill>
                  <a:srgbClr val="000000"/>
                </a:solidFill>
              </a:rPr>
              <a:t>Koszty </a:t>
            </a:r>
            <a:r>
              <a:rPr lang="pl-PL" sz="1400" b="1" dirty="0">
                <a:solidFill>
                  <a:srgbClr val="000000"/>
                </a:solidFill>
              </a:rPr>
              <a:t>kwalifikowalne obejmują koszty:</a:t>
            </a:r>
          </a:p>
          <a:p>
            <a:pPr lvl="0" algn="just">
              <a:lnSpc>
                <a:spcPct val="150000"/>
              </a:lnSpc>
            </a:pPr>
            <a:r>
              <a:rPr lang="pl-PL" sz="1400" dirty="0">
                <a:solidFill>
                  <a:srgbClr val="000000"/>
                </a:solidFill>
              </a:rPr>
              <a:t>1) dostaw i usług, w tym wynagrodzeń bezosobowych;</a:t>
            </a:r>
          </a:p>
          <a:p>
            <a:pPr lvl="0" algn="just">
              <a:lnSpc>
                <a:spcPct val="150000"/>
              </a:lnSpc>
            </a:pPr>
            <a:r>
              <a:rPr lang="pl-PL" sz="1400" dirty="0">
                <a:solidFill>
                  <a:srgbClr val="000000"/>
                </a:solidFill>
              </a:rPr>
              <a:t>2) podróży służbowych pracowników partnera KSOW oraz przejazdów, dojazdów środkami komunikacji miejscowej i noclegów poniesionych przez inne osoby w związku z realizacją operacji; </a:t>
            </a:r>
          </a:p>
          <a:p>
            <a:pPr lvl="0" algn="just">
              <a:lnSpc>
                <a:spcPct val="150000"/>
              </a:lnSpc>
            </a:pPr>
            <a:r>
              <a:rPr lang="pl-PL" sz="1400" dirty="0">
                <a:solidFill>
                  <a:srgbClr val="000000"/>
                </a:solidFill>
              </a:rPr>
              <a:t>3) nagród finansowych dla laureatów konkursów.</a:t>
            </a: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szty 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ą kwalifikowalne jeżeli są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zasadnione zakresem operacji 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iezbędne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o osiągnięcia jej celu oraz 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acjonalne</a:t>
            </a: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 </a:t>
            </a:r>
            <a:endParaRPr kumimoji="0" lang="pl-PL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640717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3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253408" y="6442502"/>
            <a:ext cx="659026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-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-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270521" y="381085"/>
            <a:ext cx="8621959" cy="5280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pl-PL" sz="1150" b="1" dirty="0">
                <a:solidFill>
                  <a:srgbClr val="000000"/>
                </a:solidFill>
              </a:rPr>
              <a:t>Do kosztów kwalifikowalnych operacji nie zalicza się następujących </a:t>
            </a:r>
            <a:r>
              <a:rPr lang="pl-PL" sz="1150" b="1" dirty="0" smtClean="0">
                <a:solidFill>
                  <a:srgbClr val="000000"/>
                </a:solidFill>
              </a:rPr>
              <a:t>kosztów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 smtClean="0">
                <a:solidFill>
                  <a:srgbClr val="000000"/>
                </a:solidFill>
              </a:rPr>
              <a:t>1</a:t>
            </a:r>
            <a:r>
              <a:rPr lang="pl-PL" sz="1150" dirty="0">
                <a:solidFill>
                  <a:srgbClr val="000000"/>
                </a:solidFill>
              </a:rPr>
              <a:t>) zakupu środków transportu;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>
                <a:solidFill>
                  <a:srgbClr val="000000"/>
                </a:solidFill>
              </a:rPr>
              <a:t>2) związanych z umową leasingu środków transportu, zakończonego z umową leasingu środków transportu, zakończonego przeniesieniem prawa własności tych środków transportu;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>
                <a:solidFill>
                  <a:srgbClr val="000000"/>
                </a:solidFill>
              </a:rPr>
              <a:t>3) zakupu alkoholu, z wyjątkiem alkoholu wpisanego na listę produktów tradycyjnych, o której mowa w art. 47 ust. 1 ustawy z dnia 17 grudnia 2004 tradycyjnych, o której mowa w art. 47 ust. 1 ustawy z dnia 17 grudnia 2004 r. o rejestracji i ochronie nazw oznaczeń produktów rolnych środków spożywczych oraz o produktach tradycyjnych (Dz. U. z 2017 r. poz. 1168), kupionego w związku z realizacją operacji w celach promocji dziedzictwa kulturowego regionu, w którym jest wytwarzany;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>
                <a:solidFill>
                  <a:srgbClr val="000000"/>
                </a:solidFill>
              </a:rPr>
              <a:t>4) kursu języka obcego;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>
                <a:solidFill>
                  <a:srgbClr val="000000"/>
                </a:solidFill>
              </a:rPr>
              <a:t>5) zakupu nieruchomości;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>
                <a:solidFill>
                  <a:srgbClr val="000000"/>
                </a:solidFill>
              </a:rPr>
              <a:t>6) remontów i modernizacji pomieszczeń;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>
                <a:solidFill>
                  <a:srgbClr val="000000"/>
                </a:solidFill>
              </a:rPr>
              <a:t>7) dostaw i usług poniesionych na podstawie umowy cywilnoprawnej zawartej przez partnera KSOW ze swoim pracownikiem o wartości brutto zamówienia przekraczającej kwotę, o której mowa w art. 43a ust. 5 ustawy ROW (w przypadku umowy cywilnoprawnej z osobą fizyczną, gdy wartość zamówienia nie jest objęta podatkiem VAT, a jest objęta innymi podatkami, w tym podatkiem dochodowym, a także, jeżeli wynika to z przepisów prawa, składkami na ubezpieczenia społeczne i zdrowotne, koszt netto równa się kosztowi brutto</a:t>
            </a:r>
            <a:r>
              <a:rPr lang="pl-PL" sz="1150" dirty="0" smtClean="0">
                <a:solidFill>
                  <a:srgbClr val="000000"/>
                </a:solidFill>
              </a:rPr>
              <a:t>);</a:t>
            </a:r>
            <a:endParaRPr lang="pl-PL" sz="115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150" dirty="0">
                <a:solidFill>
                  <a:srgbClr val="000000"/>
                </a:solidFill>
              </a:rPr>
              <a:t>8) inwestycyjnych. Przez koszt inwestycyjny, bez względu na jego wysokość, należy rozumieć koszt poniesiony przez partnera KSOW w celu nabycia rzeczy, które nie zostaną zużyte podczas realizacji operacji, w tym zużyte przez grupę docelową w trakcie realizacji operacji, i pozostaną u partnera tzn. partner KSOW będzie miał tytuł prawny do tych rzeczy i będzie mógł nadal ich używać. Poniesienie kosztu inwestycyjnego prowadzi zatem do zwiększenia majątku partnera KSOW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49601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Prostokąt 6"/>
          <p:cNvSpPr/>
          <p:nvPr/>
        </p:nvSpPr>
        <p:spPr>
          <a:xfrm>
            <a:off x="402815" y="1556792"/>
            <a:ext cx="829145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1200"/>
              </a:spcAft>
              <a:defRPr/>
            </a:pPr>
            <a:r>
              <a:rPr lang="pl-PL" sz="3200" b="1" dirty="0">
                <a:solidFill>
                  <a:srgbClr val="DA1C5C"/>
                </a:solidFill>
              </a:rPr>
              <a:t>Informowanie i rozpowszechnianie </a:t>
            </a:r>
          </a:p>
          <a:p>
            <a:pPr lvl="0" algn="ctr">
              <a:spcAft>
                <a:spcPts val="1200"/>
              </a:spcAft>
              <a:defRPr/>
            </a:pPr>
            <a:r>
              <a:rPr lang="pl-PL" sz="3200" b="1" dirty="0">
                <a:solidFill>
                  <a:srgbClr val="DA1C5C"/>
                </a:solidFill>
              </a:rPr>
              <a:t>informacji o realizowanej operacj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85358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Prostokąt 6"/>
          <p:cNvSpPr/>
          <p:nvPr/>
        </p:nvSpPr>
        <p:spPr>
          <a:xfrm>
            <a:off x="385004" y="1092507"/>
            <a:ext cx="829145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kumimoji="0" lang="pl-PL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Zgodnie z zapisami umowy (</a:t>
            </a:r>
            <a:r>
              <a:rPr lang="pl-PL" sz="2000" dirty="0" smtClean="0"/>
              <a:t>§11 </a:t>
            </a:r>
            <a:r>
              <a:rPr lang="pl-PL" sz="2000" i="1" dirty="0" smtClean="0"/>
              <a:t>Promocja i informacja</a:t>
            </a:r>
            <a:r>
              <a:rPr lang="pl-PL" sz="2000" dirty="0" smtClean="0"/>
              <a:t>) Partner </a:t>
            </a:r>
            <a:r>
              <a:rPr lang="pl-PL" sz="2000" dirty="0"/>
              <a:t>KSOW jest zobowiązany do </a:t>
            </a:r>
            <a:r>
              <a:rPr lang="pl-PL" sz="2000" b="1" dirty="0"/>
              <a:t>informowania i rozpowszechniania informacji o realizowanej operacji </a:t>
            </a:r>
            <a:r>
              <a:rPr lang="pl-PL" sz="2000" dirty="0" smtClean="0"/>
              <a:t>zgodnie </a:t>
            </a:r>
            <a:r>
              <a:rPr lang="pl-PL" sz="2000" dirty="0"/>
              <a:t>z </a:t>
            </a:r>
            <a:r>
              <a:rPr lang="pl-PL" sz="2000" dirty="0" smtClean="0"/>
              <a:t>zapisami </a:t>
            </a:r>
            <a:r>
              <a:rPr lang="pl-PL" sz="2000" dirty="0"/>
              <a:t>załącznika III do rozporządzenia 808/2014 opisanymi w Księdze wizualizacji znaku PROW 2014-2020 opublikowanej na stronie internetowej </a:t>
            </a:r>
            <a:r>
              <a:rPr lang="pl-PL" sz="2000" dirty="0" smtClean="0"/>
              <a:t>Ministerstwa, </a:t>
            </a:r>
            <a:r>
              <a:rPr lang="pl-PL" sz="2000" b="1" dirty="0" smtClean="0"/>
              <a:t>w </a:t>
            </a:r>
            <a:r>
              <a:rPr lang="pl-PL" sz="2000" b="1" dirty="0"/>
              <a:t>terminie od dnia rozpoczęcia realizacji </a:t>
            </a:r>
            <a:r>
              <a:rPr lang="pl-PL" sz="2000" b="1" dirty="0" smtClean="0"/>
              <a:t>operacji do </a:t>
            </a:r>
            <a:r>
              <a:rPr lang="pl-PL" sz="2000" b="1" dirty="0"/>
              <a:t>dnia refundacji </a:t>
            </a:r>
            <a:r>
              <a:rPr lang="pl-PL" sz="2000" b="1" dirty="0" smtClean="0"/>
              <a:t>kosztów, </a:t>
            </a:r>
            <a:r>
              <a:rPr lang="pl-PL" sz="2000" b="1" dirty="0"/>
              <a:t>bez względu na wysokość kosztów kwalifikowalnych wskazanych </a:t>
            </a:r>
            <a:r>
              <a:rPr lang="pl-PL" sz="2000" b="1" dirty="0" smtClean="0"/>
              <a:t>w ramach realizowanej operacji. </a:t>
            </a:r>
            <a:endParaRPr kumimoji="0" lang="pl-PL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620097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Prostokąt 6"/>
          <p:cNvSpPr/>
          <p:nvPr/>
        </p:nvSpPr>
        <p:spPr>
          <a:xfrm>
            <a:off x="385004" y="1092507"/>
            <a:ext cx="8291452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solidFill>
                  <a:srgbClr val="000000"/>
                </a:solidFill>
              </a:rPr>
              <a:t>z</a:t>
            </a:r>
            <a:r>
              <a:rPr lang="pl-PL" sz="2000" dirty="0" smtClean="0">
                <a:solidFill>
                  <a:srgbClr val="000000"/>
                </a:solidFill>
              </a:rPr>
              <a:t>amieszczenie </a:t>
            </a:r>
            <a:r>
              <a:rPr lang="pl-PL" sz="2000" dirty="0">
                <a:solidFill>
                  <a:srgbClr val="000000"/>
                </a:solidFill>
              </a:rPr>
              <a:t>informacji o operacji na stronie </a:t>
            </a:r>
            <a:r>
              <a:rPr lang="pl-PL" sz="2000" dirty="0" smtClean="0">
                <a:solidFill>
                  <a:srgbClr val="000000"/>
                </a:solidFill>
              </a:rPr>
              <a:t>internetowej,</a:t>
            </a:r>
            <a:endParaRPr lang="pl-PL" sz="2000" dirty="0">
              <a:solidFill>
                <a:srgbClr val="00000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solidFill>
                  <a:srgbClr val="000000"/>
                </a:solidFill>
              </a:rPr>
              <a:t>z</a:t>
            </a:r>
            <a:r>
              <a:rPr lang="pl-PL" sz="2000" dirty="0" smtClean="0">
                <a:solidFill>
                  <a:srgbClr val="000000"/>
                </a:solidFill>
              </a:rPr>
              <a:t>amieszczenie </a:t>
            </a:r>
            <a:r>
              <a:rPr lang="pl-PL" sz="2000" dirty="0">
                <a:solidFill>
                  <a:srgbClr val="000000"/>
                </a:solidFill>
              </a:rPr>
              <a:t>w miejscu realizacji operacji plakatu informacyjnego w formacie </a:t>
            </a:r>
            <a:r>
              <a:rPr lang="pl-PL" sz="2000" dirty="0" smtClean="0">
                <a:solidFill>
                  <a:srgbClr val="000000"/>
                </a:solidFill>
              </a:rPr>
              <a:t>A3,</a:t>
            </a:r>
            <a:endParaRPr lang="pl-PL" sz="2000" dirty="0">
              <a:solidFill>
                <a:srgbClr val="000000"/>
              </a:solidFill>
            </a:endParaRP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solidFill>
                  <a:srgbClr val="000000"/>
                </a:solidFill>
              </a:rPr>
              <a:t>z</a:t>
            </a:r>
            <a:r>
              <a:rPr lang="pl-PL" sz="2000" dirty="0" smtClean="0">
                <a:solidFill>
                  <a:srgbClr val="000000"/>
                </a:solidFill>
              </a:rPr>
              <a:t>apewnienie </a:t>
            </a:r>
            <a:r>
              <a:rPr lang="pl-PL" sz="2000" dirty="0">
                <a:solidFill>
                  <a:srgbClr val="000000"/>
                </a:solidFill>
              </a:rPr>
              <a:t>odpowiedniej wizualizacji wszystkich materiałów drukowanych, gadżetów, nagród rzeczowych związanych z realizacją operacji (dotyczy również materiałów sfinansowanych w ramach wkładu własnego</a:t>
            </a:r>
            <a:r>
              <a:rPr lang="pl-PL" sz="2000" dirty="0" smtClean="0">
                <a:solidFill>
                  <a:srgbClr val="000000"/>
                </a:solidFill>
              </a:rPr>
              <a:t>).</a:t>
            </a:r>
            <a:endParaRPr kumimoji="0" lang="pl-PL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827584" y="446176"/>
            <a:ext cx="76328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2000" b="1" dirty="0"/>
              <a:t>Sposoby realizacji działań </a:t>
            </a:r>
            <a:r>
              <a:rPr lang="pl-PL" sz="2000" b="1" dirty="0" smtClean="0"/>
              <a:t>informacyjno-promocyjnych</a:t>
            </a:r>
            <a:endParaRPr lang="pl-PL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297582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74580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rona internetowa</a:t>
            </a:r>
            <a:endParaRPr kumimoji="0" lang="pl-PL" altLang="pl-PL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427313" y="836712"/>
            <a:ext cx="8411994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sz="1400" dirty="0"/>
              <a:t>W sytuacji, gdy beneficjent posiada stronę internetową (główna </a:t>
            </a:r>
            <a:r>
              <a:rPr lang="pl-PL" sz="1400" dirty="0" smtClean="0"/>
              <a:t>strona beneficjenta </a:t>
            </a:r>
            <a:r>
              <a:rPr lang="pl-PL" sz="1400" dirty="0"/>
              <a:t>lub podstrona dotycząca operacji) beneficjent </a:t>
            </a:r>
            <a:r>
              <a:rPr lang="pl-PL" sz="1400" dirty="0" smtClean="0"/>
              <a:t>zamieszcza informacje o realizowanej operacji, w tym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/>
              <a:t>k</a:t>
            </a:r>
            <a:r>
              <a:rPr lang="pl-PL" sz="1400" dirty="0" smtClean="0"/>
              <a:t>rótki opis operacji (nazwa, cel, zakładane efekty operacji, nazwa działania),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smtClean="0"/>
              <a:t>odniesienie do pomocy otrzymanej z EFRROW,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/>
              <a:t>z</a:t>
            </a:r>
            <a:r>
              <a:rPr lang="pl-PL" sz="1400" dirty="0" smtClean="0"/>
              <a:t>nak Unii Europejskiej,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smtClean="0"/>
              <a:t>logo KSOW,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/>
              <a:t>l</a:t>
            </a:r>
            <a:r>
              <a:rPr lang="pl-PL" sz="1400" dirty="0" smtClean="0"/>
              <a:t>ogo PROW,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/>
              <a:t>l</a:t>
            </a:r>
            <a:r>
              <a:rPr lang="pl-PL" sz="1400" dirty="0" smtClean="0"/>
              <a:t>ogo „promuje łódzkie” .</a:t>
            </a:r>
          </a:p>
          <a:p>
            <a:pPr algn="just">
              <a:lnSpc>
                <a:spcPct val="150000"/>
              </a:lnSpc>
            </a:pPr>
            <a:endParaRPr lang="pl-PL" sz="1400" dirty="0"/>
          </a:p>
          <a:p>
            <a:pPr algn="just">
              <a:lnSpc>
                <a:spcPct val="150000"/>
              </a:lnSpc>
            </a:pPr>
            <a:r>
              <a:rPr lang="pl-PL" sz="1400" dirty="0"/>
              <a:t>Informacje te </a:t>
            </a:r>
            <a:r>
              <a:rPr lang="pl-PL" sz="1400" dirty="0" smtClean="0"/>
              <a:t>muszą zajmować </a:t>
            </a:r>
            <a:r>
              <a:rPr lang="pl-PL" sz="1400" b="1" dirty="0" smtClean="0"/>
              <a:t>przynajmniej 25% </a:t>
            </a:r>
            <a:r>
              <a:rPr lang="pl-PL" sz="1400" b="1" dirty="0"/>
              <a:t>powierzchni strony </a:t>
            </a:r>
            <a:r>
              <a:rPr lang="pl-PL" sz="1400" dirty="0"/>
              <a:t>(widocznej </a:t>
            </a:r>
            <a:r>
              <a:rPr lang="pl-PL" sz="1400" dirty="0" smtClean="0"/>
              <a:t>na ekranie bezpośrednio </a:t>
            </a:r>
            <a:r>
              <a:rPr lang="pl-PL" sz="1400" dirty="0"/>
              <a:t>po wejściu użytkownika na </a:t>
            </a:r>
            <a:r>
              <a:rPr lang="pl-PL" sz="1400" dirty="0" smtClean="0"/>
              <a:t>stronę/podstronę bez konieczności </a:t>
            </a:r>
            <a:r>
              <a:rPr lang="pl-PL" sz="1400" dirty="0"/>
              <a:t>przewijania strony w dół</a:t>
            </a:r>
            <a:r>
              <a:rPr lang="pl-PL" sz="1400" dirty="0" smtClean="0"/>
              <a:t>).</a:t>
            </a:r>
          </a:p>
          <a:p>
            <a:pPr algn="just">
              <a:lnSpc>
                <a:spcPct val="150000"/>
              </a:lnSpc>
            </a:pPr>
            <a:endParaRPr lang="pl-PL" sz="1400" dirty="0" smtClean="0"/>
          </a:p>
          <a:p>
            <a:pPr algn="just">
              <a:lnSpc>
                <a:spcPct val="150000"/>
              </a:lnSpc>
            </a:pPr>
            <a:r>
              <a:rPr lang="pl-PL" sz="1400" dirty="0" smtClean="0"/>
              <a:t>Zgodnie z umową na realizację operacji Partner KSOW zobowiązany jest do przekazania zamieszczonych informacji na stronie internetowej </a:t>
            </a:r>
            <a:r>
              <a:rPr lang="pl-PL" sz="1400" dirty="0"/>
              <a:t>do Jednostki Regionalnej KSOW Województwa </a:t>
            </a:r>
            <a:r>
              <a:rPr lang="pl-PL" sz="1400" dirty="0" smtClean="0"/>
              <a:t>Łódzkiego w celu zamieszczenia ich na portalu KSOW – </a:t>
            </a:r>
            <a:r>
              <a:rPr lang="pl-PL" sz="1400" dirty="0" smtClean="0">
                <a:hlinkClick r:id="rId5"/>
              </a:rPr>
              <a:t>www.lodzkie.ksow.pl</a:t>
            </a:r>
            <a:r>
              <a:rPr lang="pl-PL" sz="1400" dirty="0" smtClean="0"/>
              <a:t>. </a:t>
            </a:r>
            <a:endParaRPr lang="pl-PL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493185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74580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rona internetowa</a:t>
            </a:r>
            <a:endParaRPr kumimoji="0" lang="pl-PL" altLang="pl-PL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268760"/>
            <a:ext cx="3334905" cy="3901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1628800"/>
            <a:ext cx="4432514" cy="3541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5867476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algn="ctr"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hematu II</a:t>
            </a: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omocy Technicznej Programu Rozwoju Obszarów Wiejskich na lata 2014–2020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lang="pl-PL" sz="7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74580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l-PL" altLang="pl-PL" sz="2000" b="1" dirty="0" smtClean="0">
                <a:solidFill>
                  <a:srgbClr val="000000"/>
                </a:solidFill>
              </a:rPr>
              <a:t>Plakat A3 – oznaczenie miejsca realizacji operacji</a:t>
            </a:r>
            <a:endParaRPr lang="pl-PL" altLang="pl-PL" sz="2000" b="1" dirty="0">
              <a:solidFill>
                <a:srgbClr val="000000"/>
              </a:solidFill>
            </a:endParaRPr>
          </a:p>
        </p:txBody>
      </p:sp>
      <p:pic>
        <p:nvPicPr>
          <p:cNvPr id="1026" name="Picture 2" descr="C:\Users\malgorzata.bilska\Pictures\Desktop\tablica przykła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3" y="1124744"/>
            <a:ext cx="6802497" cy="440926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825805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hematu II </a:t>
            </a:r>
            <a:r>
              <a:rPr lang="pl-PL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omocy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1241070" y="476672"/>
            <a:ext cx="745802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sięga wizualizacji znaku</a:t>
            </a:r>
            <a:r>
              <a:rPr kumimoji="0" lang="pl-PL" altLang="pl-PL" sz="28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8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W 2014-2020</a:t>
            </a:r>
            <a:endParaRPr kumimoji="0" lang="pl-PL" altLang="pl-PL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464044" y="574269"/>
            <a:ext cx="216024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pl-PL" sz="1200" dirty="0" smtClean="0">
                <a:solidFill>
                  <a:srgbClr val="000000"/>
                </a:solidFill>
              </a:rPr>
              <a:t>Przy realizacji projektu konieczne jest </a:t>
            </a:r>
            <a:r>
              <a:rPr lang="pl-PL" sz="1200" smtClean="0">
                <a:solidFill>
                  <a:srgbClr val="000000"/>
                </a:solidFill>
              </a:rPr>
              <a:t>stosowanie zasad </a:t>
            </a:r>
            <a:r>
              <a:rPr lang="pl-PL" sz="1200" dirty="0" smtClean="0">
                <a:solidFill>
                  <a:srgbClr val="000000"/>
                </a:solidFill>
              </a:rPr>
              <a:t>zawartych w Księdze wizualizacji znaku PROW 2014-2020.</a:t>
            </a:r>
          </a:p>
          <a:p>
            <a:pPr lvl="0">
              <a:lnSpc>
                <a:spcPct val="150000"/>
              </a:lnSpc>
              <a:defRPr/>
            </a:pPr>
            <a:endParaRPr lang="pl-PL" sz="1200" dirty="0">
              <a:solidFill>
                <a:srgbClr val="000000"/>
              </a:solidFill>
            </a:endParaRPr>
          </a:p>
          <a:p>
            <a:pPr lvl="0">
              <a:lnSpc>
                <a:spcPct val="150000"/>
              </a:lnSpc>
              <a:defRPr/>
            </a:pPr>
            <a:r>
              <a:rPr lang="pl-PL" sz="1200" dirty="0" smtClean="0">
                <a:solidFill>
                  <a:srgbClr val="000000"/>
                </a:solidFill>
              </a:rPr>
              <a:t>Księga wraz z elementami graficznymi w wersji edytowalnej dostępne są na stronie internetowej Ministerstwa Rolnictwa i Rozwoju Wsi:</a:t>
            </a:r>
          </a:p>
          <a:p>
            <a:pPr lvl="0">
              <a:lnSpc>
                <a:spcPct val="150000"/>
              </a:lnSpc>
              <a:defRPr/>
            </a:pPr>
            <a:r>
              <a:rPr lang="pl-PL" sz="1000" dirty="0">
                <a:solidFill>
                  <a:srgbClr val="000000"/>
                </a:solidFill>
                <a:hlinkClick r:id="rId5"/>
              </a:rPr>
              <a:t>http://</a:t>
            </a:r>
            <a:r>
              <a:rPr lang="pl-PL" sz="1000" dirty="0" smtClean="0">
                <a:solidFill>
                  <a:srgbClr val="000000"/>
                </a:solidFill>
                <a:hlinkClick r:id="rId5"/>
              </a:rPr>
              <a:t>www.minrol.gov.pl/Wsparcie-rolnictwa/Program-Rozwoju-Obszarow-Wiejskich-2014-2020/Dzialania-informacyjne-PROW-2014-2020/Ksiega-wizualizacji-i-logotypy</a:t>
            </a:r>
            <a:r>
              <a:rPr lang="pl-PL" sz="1000" dirty="0" smtClean="0">
                <a:solidFill>
                  <a:srgbClr val="000000"/>
                </a:solidFill>
              </a:rPr>
              <a:t>  </a:t>
            </a:r>
            <a:endParaRPr lang="pl-PL" sz="1000" dirty="0">
              <a:solidFill>
                <a:srgbClr val="000000"/>
              </a:solidFill>
            </a:endParaRP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77124" y="1600050"/>
            <a:ext cx="5349800" cy="377553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8627620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Prostokąt 3"/>
          <p:cNvSpPr/>
          <p:nvPr/>
        </p:nvSpPr>
        <p:spPr>
          <a:xfrm>
            <a:off x="323527" y="620688"/>
            <a:ext cx="8551949" cy="4565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mit środków przewidzianych na realizację operacji przez Partnerów KSOW w 2018 r</a:t>
            </a:r>
            <a:r>
              <a:rPr lang="pl-PL" sz="1600" b="1" spc="-1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wynosił dla kraju: 9 972 415,00 zł.</a:t>
            </a: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pl-PL" sz="1600" spc="-1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 województwa łódzkiego było to </a:t>
            </a:r>
            <a:r>
              <a:rPr lang="pl-PL" sz="1600" b="1" spc="-1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00 </a:t>
            </a: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00,00 zł </a:t>
            </a:r>
            <a:r>
              <a:rPr lang="pl-PL" sz="1600" spc="-1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 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dziale na działania:</a:t>
            </a:r>
            <a:endParaRPr lang="pl-PL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ziałanie 4.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zkolenia i działania na rzecz tworzenia sieci kontaktów dla Lokalnych Grup Działania (LGD), w tym zapewnianie pomocy technicznej w zakresie współpracy </a:t>
            </a:r>
            <a:r>
              <a:rPr lang="pl-PL" sz="1600" spc="-1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ędzyterytorialnej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 międzynarodowej (limit środków </a:t>
            </a: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0 000,00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zł</a:t>
            </a:r>
            <a:r>
              <a:rPr lang="pl-PL" sz="1600" spc="-1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;</a:t>
            </a:r>
            <a:endParaRPr lang="pl-PL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ziałanie 6.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łatwianie wymiany wiedzy pomiędzy podmiotami uczestniczącymi w rozwoju obszarów wiejskich oraz wymiana i rozpowszechnianie rezultatów działań na rzecz tego rozwoju (limit środków </a:t>
            </a: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25 000,00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zł</a:t>
            </a:r>
            <a:r>
              <a:rPr lang="pl-PL" sz="1600" spc="-1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;</a:t>
            </a:r>
            <a:endParaRPr lang="pl-PL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ziałanie 9.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Wspieranie współpracy w sektorze rolnym i realizacji przez rolników wspólnych inwestycji (limit środków </a:t>
            </a:r>
            <a:r>
              <a:rPr lang="pl-PL" sz="1600" b="1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25 000,00</a:t>
            </a:r>
            <a:r>
              <a:rPr lang="pl-PL" sz="1600" spc="-1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zł</a:t>
            </a:r>
            <a:r>
              <a:rPr lang="pl-PL" sz="1600" spc="-1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.</a:t>
            </a:r>
            <a:endParaRPr lang="pl-PL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820999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50" y="167693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385004" y="476672"/>
            <a:ext cx="83139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2400" b="1" dirty="0" smtClean="0">
                <a:solidFill>
                  <a:srgbClr val="000000"/>
                </a:solidFill>
              </a:rPr>
              <a:t>System Identyfikacji Wizualnej Województwa Łódzkiego</a:t>
            </a:r>
            <a:endParaRPr kumimoji="0" lang="pl-PL" altLang="pl-PL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980728"/>
            <a:ext cx="85715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Partner KSOW zobowiązany jest również do stosowania zasad zgodnych z </a:t>
            </a:r>
            <a:r>
              <a:rPr lang="pl-PL" sz="1400" dirty="0" smtClean="0"/>
              <a:t>Systemem </a:t>
            </a:r>
            <a:r>
              <a:rPr lang="pl-PL" sz="1400" dirty="0"/>
              <a:t>Identyfikacji Wizualnej Województwa </a:t>
            </a:r>
            <a:r>
              <a:rPr lang="pl-PL" sz="1400" dirty="0" smtClean="0"/>
              <a:t>Łódzkiego. </a:t>
            </a:r>
            <a:endParaRPr kumimoji="0" lang="pl-PL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1685089"/>
            <a:ext cx="5722679" cy="3368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rostokąt 1"/>
          <p:cNvSpPr/>
          <p:nvPr/>
        </p:nvSpPr>
        <p:spPr>
          <a:xfrm>
            <a:off x="467544" y="1870080"/>
            <a:ext cx="2001411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400" dirty="0" smtClean="0"/>
              <a:t>Księga Identyfikacji </a:t>
            </a:r>
            <a:r>
              <a:rPr lang="pl-PL" sz="1400" dirty="0"/>
              <a:t>wraz ze </a:t>
            </a:r>
            <a:r>
              <a:rPr lang="pl-PL" sz="1400" dirty="0" smtClean="0"/>
              <a:t>znakiem graficznym </a:t>
            </a:r>
            <a:r>
              <a:rPr lang="pl-PL" sz="1400" dirty="0"/>
              <a:t>w wersji edytowalnej dostępne są na stronie </a:t>
            </a:r>
            <a:r>
              <a:rPr lang="pl-PL" sz="1400" dirty="0" smtClean="0"/>
              <a:t>internetowej Województwa Łódzkiego: </a:t>
            </a:r>
          </a:p>
          <a:p>
            <a:pPr>
              <a:lnSpc>
                <a:spcPct val="150000"/>
              </a:lnSpc>
            </a:pPr>
            <a:r>
              <a:rPr lang="pl-PL" sz="1400" dirty="0">
                <a:hlinkClick r:id="rId6"/>
              </a:rPr>
              <a:t>https://</a:t>
            </a:r>
            <a:r>
              <a:rPr lang="pl-PL" sz="1400" dirty="0" smtClean="0">
                <a:hlinkClick r:id="rId6"/>
              </a:rPr>
              <a:t>www.lodzkie.pl/urzad/system-identyfikacji</a:t>
            </a:r>
            <a:r>
              <a:rPr lang="pl-PL" sz="1400" dirty="0" smtClean="0"/>
              <a:t>  </a:t>
            </a:r>
            <a:endParaRPr lang="pl-PL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630196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503736" y="707580"/>
            <a:ext cx="781161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sz="1400" dirty="0" smtClean="0">
                <a:solidFill>
                  <a:srgbClr val="000000"/>
                </a:solidFill>
              </a:rPr>
              <a:t>Do</a:t>
            </a:r>
            <a:r>
              <a:rPr lang="pl-PL" sz="1400" dirty="0" smtClean="0"/>
              <a:t>zwolone </a:t>
            </a:r>
            <a:r>
              <a:rPr lang="pl-PL" sz="1400" dirty="0"/>
              <a:t>jest umieszczenie logo beneficjenta, partnera KSOW, lokalnej grupy działania, herbu/logo województwa lub gminy pomiędzy znakiem UE i logo PROW </a:t>
            </a:r>
            <a:r>
              <a:rPr lang="pl-PL" sz="1400" dirty="0" smtClean="0"/>
              <a:t>2014-2020. </a:t>
            </a:r>
            <a:r>
              <a:rPr lang="pl-PL" sz="1400" dirty="0" smtClean="0">
                <a:solidFill>
                  <a:srgbClr val="000000"/>
                </a:solidFill>
              </a:rPr>
              <a:t>Partner </a:t>
            </a:r>
            <a:r>
              <a:rPr lang="pl-PL" sz="1400" dirty="0">
                <a:solidFill>
                  <a:srgbClr val="000000"/>
                </a:solidFill>
              </a:rPr>
              <a:t>KSOW podczas realizacji operacji zobowiązany jest do stosowania następujących elementów </a:t>
            </a:r>
            <a:r>
              <a:rPr lang="pl-PL" sz="1400" dirty="0" smtClean="0">
                <a:solidFill>
                  <a:srgbClr val="000000"/>
                </a:solidFill>
              </a:rPr>
              <a:t/>
            </a:r>
            <a:br>
              <a:rPr lang="pl-PL" sz="1400" dirty="0" smtClean="0">
                <a:solidFill>
                  <a:srgbClr val="000000"/>
                </a:solidFill>
              </a:rPr>
            </a:br>
            <a:r>
              <a:rPr lang="pl-PL" sz="1400" dirty="0" smtClean="0">
                <a:solidFill>
                  <a:srgbClr val="000000"/>
                </a:solidFill>
              </a:rPr>
              <a:t>w </a:t>
            </a:r>
            <a:r>
              <a:rPr lang="pl-PL" sz="1400" dirty="0">
                <a:solidFill>
                  <a:srgbClr val="000000"/>
                </a:solidFill>
              </a:rPr>
              <a:t>zestawieniu znaków i </a:t>
            </a:r>
            <a:r>
              <a:rPr lang="pl-PL" sz="1400" dirty="0" smtClean="0">
                <a:solidFill>
                  <a:srgbClr val="000000"/>
                </a:solidFill>
              </a:rPr>
              <a:t>logo:</a:t>
            </a:r>
            <a:endParaRPr lang="pl-PL" sz="1400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  <a:p>
            <a:endParaRPr lang="pl-PL" dirty="0"/>
          </a:p>
          <a:p>
            <a:endParaRPr lang="pl-PL" dirty="0" smtClean="0"/>
          </a:p>
          <a:p>
            <a:endParaRPr lang="pl-PL" dirty="0" smtClean="0"/>
          </a:p>
        </p:txBody>
      </p:sp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194" name="Picture 2" descr="C:\Users\malgorzata.bilska\Pictures\Desktop\Kopia_zapasowa_Kopia_zapasowa_Logotypy dla wykonawcy — kopi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50" y="3068960"/>
            <a:ext cx="8037346" cy="782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349207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408482" y="2365732"/>
            <a:ext cx="8339981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Logotypy muszą </a:t>
            </a:r>
            <a:r>
              <a:rPr lang="pl-PL" sz="1400" dirty="0">
                <a:solidFill>
                  <a:srgbClr val="000000"/>
                </a:solidFill>
              </a:rPr>
              <a:t>być </a:t>
            </a:r>
            <a:r>
              <a:rPr lang="pl-PL" sz="1400" dirty="0" smtClean="0">
                <a:solidFill>
                  <a:srgbClr val="000000"/>
                </a:solidFill>
              </a:rPr>
              <a:t>zawsze umieszczone </a:t>
            </a:r>
            <a:r>
              <a:rPr lang="pl-PL" sz="1400" dirty="0">
                <a:solidFill>
                  <a:srgbClr val="000000"/>
                </a:solidFill>
              </a:rPr>
              <a:t>w widocznym </a:t>
            </a:r>
            <a:r>
              <a:rPr lang="pl-PL" sz="1400" dirty="0" smtClean="0">
                <a:solidFill>
                  <a:srgbClr val="000000"/>
                </a:solidFill>
              </a:rPr>
              <a:t>miejscu w sposób trwały. </a:t>
            </a: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400" dirty="0" smtClean="0">
                <a:solidFill>
                  <a:srgbClr val="000000"/>
                </a:solidFill>
              </a:rPr>
              <a:t>   Należy </a:t>
            </a:r>
            <a:r>
              <a:rPr lang="pl-PL" sz="1400" dirty="0">
                <a:solidFill>
                  <a:srgbClr val="000000"/>
                </a:solidFill>
              </a:rPr>
              <a:t>zwrócić szczególną uwagę, aby odstępy pomiędzy wszystkimi logotypami były jednakowe. 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Znaki </a:t>
            </a:r>
            <a:r>
              <a:rPr lang="pl-PL" sz="1400" dirty="0">
                <a:solidFill>
                  <a:srgbClr val="000000"/>
                </a:solidFill>
              </a:rPr>
              <a:t>i napisy muszą być czytelne i dobrze widoczne.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Zamieszczając je, </a:t>
            </a:r>
            <a:r>
              <a:rPr lang="pl-PL" sz="1400" dirty="0">
                <a:solidFill>
                  <a:srgbClr val="000000"/>
                </a:solidFill>
              </a:rPr>
              <a:t>należy odpowiednio dostosować ich wielkość oraz miejsce zamieszczenia do </a:t>
            </a:r>
            <a:r>
              <a:rPr lang="pl-PL" sz="1400" dirty="0" smtClean="0">
                <a:solidFill>
                  <a:srgbClr val="000000"/>
                </a:solidFill>
              </a:rPr>
              <a:t>formy materiału</a:t>
            </a:r>
            <a:r>
              <a:rPr lang="pl-PL" sz="1400" dirty="0">
                <a:solidFill>
                  <a:srgbClr val="000000"/>
                </a:solidFill>
              </a:rPr>
              <a:t>, przedmiotu. </a:t>
            </a:r>
            <a:endParaRPr lang="pl-PL" sz="1400" dirty="0" smtClean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W </a:t>
            </a:r>
            <a:r>
              <a:rPr lang="pl-PL" sz="1400" dirty="0">
                <a:solidFill>
                  <a:srgbClr val="000000"/>
                </a:solidFill>
              </a:rPr>
              <a:t>przypadku broszur, </a:t>
            </a:r>
            <a:r>
              <a:rPr lang="pl-PL" sz="1400" dirty="0" smtClean="0">
                <a:solidFill>
                  <a:srgbClr val="000000"/>
                </a:solidFill>
              </a:rPr>
              <a:t>biuletynów </a:t>
            </a:r>
            <a:r>
              <a:rPr lang="pl-PL" sz="1400" dirty="0">
                <a:solidFill>
                  <a:srgbClr val="000000"/>
                </a:solidFill>
              </a:rPr>
              <a:t>itp. zamieszczane są na stronie tytułowej (</a:t>
            </a:r>
            <a:r>
              <a:rPr lang="pl-PL" sz="1400" dirty="0" smtClean="0">
                <a:solidFill>
                  <a:srgbClr val="000000"/>
                </a:solidFill>
              </a:rPr>
              <a:t>pierwszej stronie </a:t>
            </a:r>
            <a:r>
              <a:rPr lang="pl-PL" sz="1400" dirty="0">
                <a:solidFill>
                  <a:srgbClr val="000000"/>
                </a:solidFill>
              </a:rPr>
              <a:t>okładki), w przypadku ulotek, na pierwszej stronie ulotki. </a:t>
            </a:r>
            <a:endParaRPr lang="pl-PL" sz="1400" dirty="0" smtClean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Jeśli </a:t>
            </a:r>
            <a:r>
              <a:rPr lang="pl-PL" sz="1400" dirty="0">
                <a:solidFill>
                  <a:srgbClr val="000000"/>
                </a:solidFill>
              </a:rPr>
              <a:t>przedmiot jest tak mały, że </a:t>
            </a:r>
            <a:r>
              <a:rPr lang="pl-PL" sz="1400" dirty="0" smtClean="0">
                <a:solidFill>
                  <a:srgbClr val="000000"/>
                </a:solidFill>
              </a:rPr>
              <a:t>nie można </a:t>
            </a:r>
            <a:r>
              <a:rPr lang="pl-PL" sz="1400" dirty="0">
                <a:solidFill>
                  <a:srgbClr val="000000"/>
                </a:solidFill>
              </a:rPr>
              <a:t>na nim zastosować czytelnych </a:t>
            </a:r>
            <a:r>
              <a:rPr lang="pl-PL" sz="1400" dirty="0" smtClean="0">
                <a:solidFill>
                  <a:srgbClr val="000000"/>
                </a:solidFill>
              </a:rPr>
              <a:t>znaków, </a:t>
            </a:r>
            <a:r>
              <a:rPr lang="pl-PL" sz="1400" dirty="0">
                <a:solidFill>
                  <a:srgbClr val="000000"/>
                </a:solidFill>
              </a:rPr>
              <a:t>nie można go używać do celów promocyjnych.</a:t>
            </a:r>
            <a:endParaRPr kumimoji="0" lang="pl-PL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3528" y="656982"/>
            <a:ext cx="829019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100" b="1" dirty="0"/>
              <a:t>Podstawowe zasady oznaczania oraz stosowania </a:t>
            </a:r>
            <a:r>
              <a:rPr lang="pl-PL" sz="2100" b="1" dirty="0" smtClean="0"/>
              <a:t>znaków i logo</a:t>
            </a:r>
            <a:endParaRPr lang="pl-PL" sz="2100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1340768"/>
            <a:ext cx="8212137" cy="79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91560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50" y="167693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Prostokąt 8"/>
          <p:cNvSpPr/>
          <p:nvPr/>
        </p:nvSpPr>
        <p:spPr>
          <a:xfrm>
            <a:off x="402815" y="1556792"/>
            <a:ext cx="82914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1200"/>
              </a:spcAft>
              <a:defRPr/>
            </a:pPr>
            <a:r>
              <a:rPr lang="pl-PL" sz="3200" b="1" dirty="0" smtClean="0">
                <a:solidFill>
                  <a:srgbClr val="DA1C5C"/>
                </a:solidFill>
              </a:rPr>
              <a:t>Zakończenie operacji</a:t>
            </a:r>
            <a:endParaRPr lang="pl-PL" sz="3200" b="1" dirty="0">
              <a:solidFill>
                <a:srgbClr val="DA1C5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720247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3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253408" y="6442502"/>
            <a:ext cx="659026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-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-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336073" y="1070734"/>
            <a:ext cx="8424936" cy="3901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 właściwym zrealizowaniu wszystkich zadań </a:t>
            </a:r>
            <a:r>
              <a:rPr lang="pl-PL" sz="1500" dirty="0">
                <a:solidFill>
                  <a:srgbClr val="000000"/>
                </a:solidFill>
              </a:rPr>
              <a:t>przez wykonawcę </a:t>
            </a:r>
            <a:r>
              <a:rPr lang="pl-PL" sz="1500" dirty="0" smtClean="0">
                <a:solidFill>
                  <a:srgbClr val="000000"/>
                </a:solidFill>
              </a:rPr>
              <a:t>usługi, </a:t>
            </a:r>
            <a:r>
              <a:rPr lang="pl-PL" sz="1500" dirty="0">
                <a:solidFill>
                  <a:srgbClr val="000000"/>
                </a:solidFill>
              </a:rPr>
              <a:t>Partner </a:t>
            </a: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KSOW opłaca wystawioną fakturę/faktury (z odpowiedniego rachunku, utworzonego dla operacji). </a:t>
            </a: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 poniesieniu wszystkich kosztów – opłacanie faktur</a:t>
            </a:r>
            <a:r>
              <a:rPr kumimoji="0" lang="pl-PL" sz="15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Partner</a:t>
            </a: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musi zakończyć </a:t>
            </a:r>
            <a:r>
              <a:rPr lang="pl-PL" sz="1500" dirty="0" smtClean="0">
                <a:solidFill>
                  <a:srgbClr val="000000"/>
                </a:solidFill>
              </a:rPr>
              <a:t>zgodnie z datą wskazaną w zawartej umowie, </a:t>
            </a: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 wraz z wnioskiem o refundację</a:t>
            </a:r>
            <a:r>
              <a:rPr kumimoji="0" lang="pl-PL" sz="15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przedstawić dowody zapłaty</a:t>
            </a: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– Partner przygotowuje </a:t>
            </a:r>
            <a:r>
              <a:rPr kumimoji="0" lang="pl-PL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niosek o refundację kosztów </a:t>
            </a: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 składa go do Jednostki Regionalnej KSOW Województwa Łódzkiego.</a:t>
            </a: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 weryfikacji wniosku i jego ewentualnym uzupełnieniu Jednostka Regionalna KSOW wypłaca Partnerowi środki.</a:t>
            </a:r>
            <a:r>
              <a:rPr kumimoji="0" lang="pl-PL" sz="15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Wypłata musi nastąpić</a:t>
            </a:r>
            <a:r>
              <a:rPr kumimoji="0" lang="pl-PL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do końca bieżącego roku, projekty są realizowane w cyklu rocznym.</a:t>
            </a:r>
            <a:endParaRPr kumimoji="0" lang="pl-PL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Prostokąt 5"/>
          <p:cNvSpPr/>
          <p:nvPr/>
        </p:nvSpPr>
        <p:spPr>
          <a:xfrm>
            <a:off x="507584" y="350989"/>
            <a:ext cx="41697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akończenie operacji </a:t>
            </a:r>
            <a:endParaRPr kumimoji="0" 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22685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300069" y="1037342"/>
            <a:ext cx="844839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Warunkiem </a:t>
            </a:r>
            <a:r>
              <a:rPr lang="pl-PL" sz="1600" dirty="0">
                <a:solidFill>
                  <a:srgbClr val="000000"/>
                </a:solidFill>
              </a:rPr>
              <a:t>refundacji kosztów jest: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zrealizowanie </a:t>
            </a:r>
            <a:r>
              <a:rPr lang="pl-PL" sz="1600" dirty="0">
                <a:solidFill>
                  <a:srgbClr val="000000"/>
                </a:solidFill>
              </a:rPr>
              <a:t>operacji w terminie wskazanym </a:t>
            </a:r>
            <a:r>
              <a:rPr lang="pl-PL" sz="1600" dirty="0" smtClean="0">
                <a:solidFill>
                  <a:srgbClr val="000000"/>
                </a:solidFill>
              </a:rPr>
              <a:t>we wniosku o wybór operacji i w umowie;</a:t>
            </a:r>
            <a:endParaRPr lang="pl-PL" sz="1600" dirty="0">
              <a:solidFill>
                <a:srgbClr val="000000"/>
              </a:solidFill>
            </a:endParaRP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poniesienie </a:t>
            </a:r>
            <a:r>
              <a:rPr lang="pl-PL" sz="1600" dirty="0">
                <a:solidFill>
                  <a:srgbClr val="000000"/>
                </a:solidFill>
              </a:rPr>
              <a:t>związanych z realizacją operacji kosztów kwalifikowalnych do dnia złożenia wniosku o refundację;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udokumentowanie </a:t>
            </a:r>
            <a:r>
              <a:rPr lang="pl-PL" sz="1600" dirty="0">
                <a:solidFill>
                  <a:srgbClr val="000000"/>
                </a:solidFill>
              </a:rPr>
              <a:t>zrealizowania operacji, w tym poniesienia związanych z tym kosztów kwalifikowalnych, zgodnie z zasadami określonymi w </a:t>
            </a:r>
            <a:r>
              <a:rPr lang="pl-PL" sz="1600" dirty="0" smtClean="0">
                <a:solidFill>
                  <a:srgbClr val="000000"/>
                </a:solidFill>
              </a:rPr>
              <a:t>umowie;</a:t>
            </a:r>
            <a:endParaRPr lang="pl-PL" sz="1600" dirty="0">
              <a:solidFill>
                <a:srgbClr val="000000"/>
              </a:solidFill>
            </a:endParaRP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złożenie </a:t>
            </a:r>
            <a:r>
              <a:rPr lang="pl-PL" sz="1600" dirty="0">
                <a:solidFill>
                  <a:srgbClr val="000000"/>
                </a:solidFill>
              </a:rPr>
              <a:t>wniosku o refundację w terminie wskazanym w </a:t>
            </a:r>
            <a:r>
              <a:rPr lang="pl-PL" sz="1600" dirty="0" smtClean="0">
                <a:solidFill>
                  <a:srgbClr val="000000"/>
                </a:solidFill>
              </a:rPr>
              <a:t>umowie.</a:t>
            </a:r>
            <a:endParaRPr lang="pl-PL" sz="1600" dirty="0">
              <a:solidFill>
                <a:srgbClr val="000000"/>
              </a:solidFill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Prostokąt 6"/>
          <p:cNvSpPr/>
          <p:nvPr/>
        </p:nvSpPr>
        <p:spPr>
          <a:xfrm>
            <a:off x="507584" y="350989"/>
            <a:ext cx="356296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arunki refundacji</a:t>
            </a:r>
            <a:endParaRPr kumimoji="0" 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517238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3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/>
          <p:cNvSpPr/>
          <p:nvPr/>
        </p:nvSpPr>
        <p:spPr>
          <a:xfrm>
            <a:off x="467544" y="3219941"/>
            <a:ext cx="80648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/>
            </a:r>
            <a:br>
              <a:rPr kumimoji="0" lang="pl-PL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endParaRPr kumimoji="0" lang="pl-PL" sz="1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Prostokąt 4"/>
          <p:cNvSpPr/>
          <p:nvPr/>
        </p:nvSpPr>
        <p:spPr>
          <a:xfrm>
            <a:off x="251520" y="332656"/>
            <a:ext cx="8569320" cy="5463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sz="1600" dirty="0" smtClean="0"/>
              <a:t>Do </a:t>
            </a:r>
            <a:r>
              <a:rPr lang="pl-PL" sz="1600" dirty="0"/>
              <a:t>wniosku o </a:t>
            </a:r>
            <a:r>
              <a:rPr lang="pl-PL" sz="1600" dirty="0" smtClean="0"/>
              <a:t>refundację partner </a:t>
            </a:r>
            <a:r>
              <a:rPr lang="pl-PL" sz="1600" dirty="0"/>
              <a:t>KSOW zobowiązany jest </a:t>
            </a:r>
            <a:r>
              <a:rPr lang="pl-PL" sz="1600" dirty="0" smtClean="0"/>
              <a:t>załączyć między innymi:</a:t>
            </a:r>
          </a:p>
          <a:p>
            <a:pPr algn="just"/>
            <a:endParaRPr lang="pl-PL" sz="1600" dirty="0"/>
          </a:p>
          <a:p>
            <a:pPr marL="342900" indent="-342900" algn="just">
              <a:buFont typeface="+mj-lt"/>
              <a:buAutoNum type="arabicParenR"/>
            </a:pPr>
            <a:r>
              <a:rPr lang="pl-PL" sz="1600" dirty="0" smtClean="0"/>
              <a:t>kopie faktur; </a:t>
            </a:r>
          </a:p>
          <a:p>
            <a:pPr marL="342900" indent="-342900" algn="just">
              <a:buFont typeface="+mj-lt"/>
              <a:buAutoNum type="arabicParenR"/>
            </a:pPr>
            <a:endParaRPr lang="pl-PL" sz="1600" dirty="0"/>
          </a:p>
          <a:p>
            <a:pPr marL="342900" indent="-342900" algn="just">
              <a:buFont typeface="+mj-lt"/>
              <a:buAutoNum type="arabicParenR"/>
            </a:pPr>
            <a:r>
              <a:rPr lang="pl-PL" sz="1600" dirty="0" smtClean="0"/>
              <a:t>sprawozdanie </a:t>
            </a:r>
            <a:r>
              <a:rPr lang="pl-PL" sz="1600" dirty="0"/>
              <a:t>końcowe z realizacji operacji</a:t>
            </a:r>
            <a:r>
              <a:rPr lang="pl-PL" sz="1600" dirty="0" smtClean="0"/>
              <a:t>;</a:t>
            </a:r>
          </a:p>
          <a:p>
            <a:pPr marL="342900" indent="-342900" algn="just">
              <a:buFont typeface="+mj-lt"/>
              <a:buAutoNum type="arabicParenR"/>
            </a:pPr>
            <a:endParaRPr lang="pl-PL" sz="1600" dirty="0"/>
          </a:p>
          <a:p>
            <a:pPr marL="342900" indent="-342900" algn="just">
              <a:buFont typeface="+mj-lt"/>
              <a:buAutoNum type="arabicParenR"/>
            </a:pPr>
            <a:r>
              <a:rPr lang="pl-PL" sz="1600" dirty="0" smtClean="0"/>
              <a:t>formularz </a:t>
            </a:r>
            <a:r>
              <a:rPr lang="pl-PL" sz="1600" dirty="0"/>
              <a:t>wniosku o </a:t>
            </a:r>
            <a:r>
              <a:rPr lang="pl-PL" sz="1600" dirty="0" smtClean="0"/>
              <a:t>refundację;</a:t>
            </a:r>
          </a:p>
          <a:p>
            <a:pPr marL="342900" indent="-342900" algn="just">
              <a:buFont typeface="+mj-lt"/>
              <a:buAutoNum type="arabicParenR"/>
            </a:pPr>
            <a:endParaRPr lang="pl-PL" sz="1600" dirty="0"/>
          </a:p>
          <a:p>
            <a:pPr marL="342900" indent="-342900" algn="just">
              <a:buFont typeface="+mj-lt"/>
              <a:buAutoNum type="arabicParenR"/>
            </a:pPr>
            <a:r>
              <a:rPr lang="pl-PL" sz="1600" dirty="0" smtClean="0"/>
              <a:t>kopie </a:t>
            </a:r>
            <a:r>
              <a:rPr lang="pl-PL" sz="1600" dirty="0"/>
              <a:t>dokumentacji </a:t>
            </a:r>
            <a:r>
              <a:rPr lang="pl-PL" sz="1600" dirty="0" smtClean="0"/>
              <a:t>postępowań</a:t>
            </a:r>
            <a:r>
              <a:rPr lang="pl-PL" sz="1600" dirty="0"/>
              <a:t> </a:t>
            </a:r>
            <a:r>
              <a:rPr lang="pl-PL" sz="1600" dirty="0" smtClean="0"/>
              <a:t>przetargowych/ofertowych;</a:t>
            </a:r>
          </a:p>
          <a:p>
            <a:pPr marL="342900" indent="-342900" algn="just">
              <a:buFont typeface="+mj-lt"/>
              <a:buAutoNum type="arabicParenR"/>
            </a:pPr>
            <a:endParaRPr lang="pl-PL" sz="1600" dirty="0"/>
          </a:p>
          <a:p>
            <a:pPr marL="342900" indent="-342900" algn="just">
              <a:buFont typeface="+mj-lt"/>
              <a:buAutoNum type="arabicParenR"/>
            </a:pPr>
            <a:r>
              <a:rPr lang="pl-PL" sz="1600" dirty="0" smtClean="0"/>
              <a:t>materiały </a:t>
            </a:r>
            <a:r>
              <a:rPr lang="pl-PL" sz="1600" dirty="0"/>
              <a:t>dokumentujące przeprowadzenie działań </a:t>
            </a:r>
            <a:r>
              <a:rPr lang="pl-PL" sz="1600" dirty="0" smtClean="0"/>
              <a:t>informacyjno-promocyjnych;</a:t>
            </a:r>
          </a:p>
          <a:p>
            <a:pPr marL="342900" indent="-342900" algn="just">
              <a:buFont typeface="+mj-lt"/>
              <a:buAutoNum type="arabicParenR"/>
            </a:pPr>
            <a:endParaRPr lang="pl-PL" sz="1600" dirty="0" smtClean="0"/>
          </a:p>
          <a:p>
            <a:pPr marL="342900" indent="-342900" algn="just">
              <a:buFont typeface="+mj-lt"/>
              <a:buAutoNum type="arabicParenR"/>
            </a:pPr>
            <a:r>
              <a:rPr lang="pl-PL" sz="1600" dirty="0" smtClean="0">
                <a:solidFill>
                  <a:srgbClr val="000000"/>
                </a:solidFill>
              </a:rPr>
              <a:t>dodatkowo Partner </a:t>
            </a:r>
            <a:r>
              <a:rPr lang="pl-PL" sz="1600" dirty="0">
                <a:solidFill>
                  <a:srgbClr val="000000"/>
                </a:solidFill>
              </a:rPr>
              <a:t>musi </a:t>
            </a:r>
            <a:r>
              <a:rPr lang="pl-PL" sz="1600" dirty="0" smtClean="0">
                <a:solidFill>
                  <a:srgbClr val="000000"/>
                </a:solidFill>
              </a:rPr>
              <a:t>dołączyć dokumenty potwierdzające realizację operacji, np</a:t>
            </a:r>
            <a:r>
              <a:rPr lang="pl-PL" sz="1600" dirty="0">
                <a:solidFill>
                  <a:srgbClr val="000000"/>
                </a:solidFill>
              </a:rPr>
              <a:t>.: kopie list obecności uczestników; zdjęcia w postaci cyfrowej dokumentujące przebieg </a:t>
            </a:r>
            <a:r>
              <a:rPr lang="pl-PL" sz="1600" dirty="0" smtClean="0">
                <a:solidFill>
                  <a:srgbClr val="000000"/>
                </a:solidFill>
              </a:rPr>
              <a:t>operacji, kopie certyfikatów </a:t>
            </a:r>
            <a:r>
              <a:rPr lang="pl-PL" sz="1600" dirty="0">
                <a:solidFill>
                  <a:srgbClr val="000000"/>
                </a:solidFill>
              </a:rPr>
              <a:t>itd. </a:t>
            </a:r>
          </a:p>
          <a:p>
            <a:pPr lvl="0" algn="just">
              <a:lnSpc>
                <a:spcPct val="150000"/>
              </a:lnSpc>
              <a:spcAft>
                <a:spcPts val="600"/>
              </a:spcAft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spcAft>
                <a:spcPts val="60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N</a:t>
            </a:r>
            <a:r>
              <a:rPr lang="pl-PL" sz="1600" dirty="0" smtClean="0">
                <a:solidFill>
                  <a:srgbClr val="000000"/>
                </a:solidFill>
              </a:rPr>
              <a:t>ależy </a:t>
            </a:r>
            <a:r>
              <a:rPr lang="pl-PL" sz="1600" dirty="0">
                <a:solidFill>
                  <a:srgbClr val="000000"/>
                </a:solidFill>
              </a:rPr>
              <a:t>zapoznać się z </a:t>
            </a:r>
            <a:r>
              <a:rPr lang="pl-PL" sz="1600" dirty="0" smtClean="0">
                <a:solidFill>
                  <a:srgbClr val="000000"/>
                </a:solidFill>
              </a:rPr>
              <a:t>§</a:t>
            </a:r>
            <a:r>
              <a:rPr lang="pl-PL" sz="1600" dirty="0">
                <a:solidFill>
                  <a:srgbClr val="000000"/>
                </a:solidFill>
              </a:rPr>
              <a:t>8 umowy </a:t>
            </a:r>
            <a:r>
              <a:rPr lang="pl-PL" sz="1600" i="1" dirty="0">
                <a:solidFill>
                  <a:srgbClr val="000000"/>
                </a:solidFill>
              </a:rPr>
              <a:t>Warunki refundacji kosztów</a:t>
            </a:r>
            <a:r>
              <a:rPr lang="pl-PL" sz="1600" dirty="0">
                <a:solidFill>
                  <a:srgbClr val="000000"/>
                </a:solidFill>
              </a:rPr>
              <a:t>, który szczegółowo określa wymagane </a:t>
            </a:r>
            <a:r>
              <a:rPr lang="pl-PL" sz="1600" dirty="0" smtClean="0">
                <a:solidFill>
                  <a:srgbClr val="000000"/>
                </a:solidFill>
              </a:rPr>
              <a:t>dokumenty dotyczące </a:t>
            </a:r>
            <a:r>
              <a:rPr lang="pl-PL" sz="1600" dirty="0">
                <a:solidFill>
                  <a:srgbClr val="000000"/>
                </a:solidFill>
              </a:rPr>
              <a:t>danej </a:t>
            </a:r>
            <a:r>
              <a:rPr lang="pl-PL" sz="1600" dirty="0" smtClean="0">
                <a:solidFill>
                  <a:srgbClr val="000000"/>
                </a:solidFill>
              </a:rPr>
              <a:t>operacji, jakie trzeba przedłożyć z wnioskiem </a:t>
            </a:r>
            <a:br>
              <a:rPr lang="pl-PL" sz="1600" dirty="0" smtClean="0">
                <a:solidFill>
                  <a:srgbClr val="000000"/>
                </a:solidFill>
              </a:rPr>
            </a:br>
            <a:r>
              <a:rPr lang="pl-PL" sz="1600" dirty="0" smtClean="0">
                <a:solidFill>
                  <a:srgbClr val="000000"/>
                </a:solidFill>
              </a:rPr>
              <a:t>o refundację. </a:t>
            </a:r>
            <a:endParaRPr lang="pl-PL" sz="16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314900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74580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ajczęściej popełniane</a:t>
            </a:r>
            <a:r>
              <a:rPr kumimoji="0" lang="pl-PL" altLang="pl-PL" sz="20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błędy</a:t>
            </a:r>
            <a:endParaRPr kumimoji="0" lang="pl-PL" altLang="pl-PL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427313" y="914479"/>
            <a:ext cx="84119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pl-PL" sz="1400" dirty="0" smtClean="0"/>
          </a:p>
          <a:p>
            <a:pPr algn="just">
              <a:lnSpc>
                <a:spcPct val="150000"/>
              </a:lnSpc>
            </a:pPr>
            <a:endParaRPr lang="pl-PL" sz="1400" dirty="0"/>
          </a:p>
        </p:txBody>
      </p:sp>
      <p:sp>
        <p:nvSpPr>
          <p:cNvPr id="2" name="Prostokąt 1"/>
          <p:cNvSpPr/>
          <p:nvPr/>
        </p:nvSpPr>
        <p:spPr>
          <a:xfrm>
            <a:off x="427313" y="1028343"/>
            <a:ext cx="8321151" cy="4468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 smtClean="0"/>
              <a:t>1) </a:t>
            </a:r>
            <a:r>
              <a:rPr lang="pl-PL" sz="1400" dirty="0" smtClean="0"/>
              <a:t>Niewłaściwe </a:t>
            </a:r>
            <a:r>
              <a:rPr lang="pl-PL" sz="1400" dirty="0"/>
              <a:t>wyłonienie wykonawcy </a:t>
            </a:r>
            <a:r>
              <a:rPr lang="pl-PL" sz="1400" dirty="0" smtClean="0"/>
              <a:t>usług związanych z realizacją operacji </a:t>
            </a:r>
            <a:r>
              <a:rPr lang="pl-PL" sz="1400" dirty="0"/>
              <a:t>z naruszeniem obowiązujących </a:t>
            </a:r>
            <a:r>
              <a:rPr lang="pl-PL" sz="1400" dirty="0" smtClean="0"/>
              <a:t>przepisów (np.: źle opisane kryteria wyboru, zbyt krótki termin publikacji ogłoszenia). </a:t>
            </a:r>
            <a:endParaRPr lang="pl-PL" sz="1400" dirty="0"/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 smtClean="0"/>
              <a:t>2) </a:t>
            </a:r>
            <a:r>
              <a:rPr lang="pl-PL" sz="1400" dirty="0" smtClean="0"/>
              <a:t>Ponoszenie </a:t>
            </a:r>
            <a:r>
              <a:rPr lang="pl-PL" sz="1400" dirty="0"/>
              <a:t>kosztów realizacji operacji z innego niż wydzielony rachunku</a:t>
            </a:r>
            <a:r>
              <a:rPr lang="pl-PL" sz="1400" dirty="0" smtClean="0"/>
              <a:t>.</a:t>
            </a:r>
            <a:endParaRPr lang="pl-PL" sz="1400" dirty="0"/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/>
              <a:t>3) </a:t>
            </a:r>
            <a:r>
              <a:rPr lang="pl-PL" sz="1400" dirty="0" smtClean="0"/>
              <a:t>Brak </a:t>
            </a:r>
            <a:r>
              <a:rPr lang="pl-PL" sz="1400" dirty="0"/>
              <a:t>prowadzenia działań informacyjnych lub </a:t>
            </a:r>
            <a:r>
              <a:rPr lang="pl-PL" sz="1400" dirty="0" smtClean="0"/>
              <a:t>promocyjnych, </a:t>
            </a:r>
            <a:r>
              <a:rPr lang="pl-PL" sz="1400" dirty="0"/>
              <a:t>lub prowadzenie ich niezgodnie </a:t>
            </a:r>
            <a:br>
              <a:rPr lang="pl-PL" sz="1400" dirty="0"/>
            </a:br>
            <a:r>
              <a:rPr lang="pl-PL" sz="1400" dirty="0"/>
              <a:t>z przepisami (</a:t>
            </a:r>
            <a:r>
              <a:rPr lang="pl-PL" sz="1400" dirty="0" smtClean="0"/>
              <a:t>logotypy, </a:t>
            </a:r>
            <a:r>
              <a:rPr lang="pl-PL" sz="1400" dirty="0"/>
              <a:t>księga wizualizacji</a:t>
            </a:r>
            <a:r>
              <a:rPr lang="pl-PL" sz="1400" dirty="0" smtClean="0"/>
              <a:t>).</a:t>
            </a:r>
            <a:endParaRPr lang="pl-PL" sz="1400" dirty="0"/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 smtClean="0"/>
              <a:t>4) </a:t>
            </a:r>
            <a:r>
              <a:rPr lang="pl-PL" sz="1400" dirty="0" smtClean="0"/>
              <a:t>Zrealizowanie operacji niezgodnie z terminem wskazanym w umowie.</a:t>
            </a:r>
            <a:endParaRPr lang="pl-PL" sz="1400" dirty="0"/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 smtClean="0"/>
              <a:t>5) </a:t>
            </a:r>
            <a:r>
              <a:rPr lang="pl-PL" sz="1400" dirty="0" smtClean="0"/>
              <a:t>Zrealizowanie operacji niezgodnie z zestawieniem rzeczowo-finansowym, który jest załącznikiem do umowy (np. inna forma realizacji operacji, ilości).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 smtClean="0"/>
              <a:t>6) </a:t>
            </a:r>
            <a:r>
              <a:rPr lang="pl-PL" sz="1400" dirty="0" smtClean="0"/>
              <a:t>Nieosiągnięcie celu operacji wskazanego we wniosku o wybór operacji.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 smtClean="0"/>
              <a:t>7) </a:t>
            </a:r>
            <a:r>
              <a:rPr lang="pl-PL" sz="1400" dirty="0" smtClean="0"/>
              <a:t>Poniesienie kosztów kwalifikowalnych na realizację operacji po terminie złożenia wniosku </a:t>
            </a:r>
            <a:br>
              <a:rPr lang="pl-PL" sz="1400" dirty="0" smtClean="0"/>
            </a:br>
            <a:r>
              <a:rPr lang="pl-PL" sz="1400" dirty="0" smtClean="0"/>
              <a:t>o refundację.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pl-PL" sz="1400" b="1" dirty="0" smtClean="0"/>
              <a:t>8) </a:t>
            </a:r>
            <a:r>
              <a:rPr lang="pl-PL" sz="1400" dirty="0" smtClean="0"/>
              <a:t>Brak udokumentowania zrealizowania operacji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369505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43" y="146014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19604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323528" y="692696"/>
            <a:ext cx="8352928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600"/>
              </a:spcAft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Na każdym etapie realizacji operacji pomocą służą pracownicy Jednostki Regionalnej KSOW Województwa Łódzkiego. </a:t>
            </a:r>
          </a:p>
          <a:p>
            <a:pPr lvl="0" algn="just">
              <a:spcAft>
                <a:spcPts val="600"/>
              </a:spcAft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spcAft>
                <a:spcPts val="600"/>
              </a:spcAft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Zachęcamy do kontaktu w razie jakichkolwiek wątpliwości. </a:t>
            </a:r>
          </a:p>
          <a:p>
            <a:pPr lvl="0" algn="just">
              <a:spcAft>
                <a:spcPts val="600"/>
              </a:spcAft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/>
            <a:r>
              <a:rPr lang="pl-PL" b="1" dirty="0">
                <a:solidFill>
                  <a:srgbClr val="DA1C5C"/>
                </a:solidFill>
              </a:rPr>
              <a:t>Jednostka Regionalna KSOW Województwa Łódzkiego</a:t>
            </a:r>
          </a:p>
          <a:p>
            <a:pPr lvl="0"/>
            <a:endParaRPr lang="pl-PL" sz="1100" dirty="0">
              <a:solidFill>
                <a:srgbClr val="000000"/>
              </a:solidFill>
            </a:endParaRPr>
          </a:p>
          <a:p>
            <a:pPr lvl="0"/>
            <a:r>
              <a:rPr lang="pl-PL" sz="1400" dirty="0"/>
              <a:t>prow.ksow@lodzkie.pl </a:t>
            </a:r>
          </a:p>
          <a:p>
            <a:pPr lvl="0"/>
            <a:r>
              <a:rPr lang="pl-PL" sz="1400" dirty="0"/>
              <a:t>tel. 42 663 36 30</a:t>
            </a:r>
          </a:p>
          <a:p>
            <a:pPr lvl="0"/>
            <a:endParaRPr lang="pl-PL" sz="1400" dirty="0">
              <a:solidFill>
                <a:srgbClr val="000000"/>
              </a:solidFill>
            </a:endParaRPr>
          </a:p>
          <a:p>
            <a:pPr lvl="0" algn="just">
              <a:spcAft>
                <a:spcPts val="60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Siedziba:</a:t>
            </a:r>
          </a:p>
          <a:p>
            <a:pPr lvl="0" algn="just">
              <a:spcAft>
                <a:spcPts val="60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Urząd Marszałkowski Województwa Łódzkiego</a:t>
            </a:r>
          </a:p>
          <a:p>
            <a:pPr lvl="0" algn="just">
              <a:spcAft>
                <a:spcPts val="60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Departament Funduszu Rozwoju Obszarów Wiejskich</a:t>
            </a:r>
          </a:p>
          <a:p>
            <a:pPr lvl="0" algn="just">
              <a:spcAft>
                <a:spcPts val="60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Wydział </a:t>
            </a:r>
            <a:r>
              <a:rPr lang="pl-PL" sz="1600" dirty="0" smtClean="0">
                <a:solidFill>
                  <a:srgbClr val="000000"/>
                </a:solidFill>
              </a:rPr>
              <a:t>Krajowej Sieci Obszarów Wiejskich (KSOW)</a:t>
            </a: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spcAft>
                <a:spcPts val="60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Al. Piłsudskiego 12, II piętro</a:t>
            </a:r>
          </a:p>
          <a:p>
            <a:pPr lvl="0" algn="just">
              <a:spcAft>
                <a:spcPts val="600"/>
              </a:spcAft>
              <a:defRPr/>
            </a:pPr>
            <a:r>
              <a:rPr lang="pl-PL" sz="1600" dirty="0">
                <a:solidFill>
                  <a:srgbClr val="000000"/>
                </a:solidFill>
              </a:rPr>
              <a:t>90-051 </a:t>
            </a:r>
            <a:r>
              <a:rPr lang="pl-PL" sz="1600" dirty="0" smtClean="0">
                <a:solidFill>
                  <a:srgbClr val="000000"/>
                </a:solidFill>
              </a:rPr>
              <a:t>Łódź</a:t>
            </a:r>
            <a:endParaRPr lang="pl-PL" sz="1600" dirty="0">
              <a:solidFill>
                <a:srgbClr val="000000"/>
              </a:solidFill>
            </a:endParaRPr>
          </a:p>
        </p:txBody>
      </p:sp>
      <p:sp>
        <p:nvSpPr>
          <p:cNvPr id="4" name="Prostokąt 3"/>
          <p:cNvSpPr/>
          <p:nvPr/>
        </p:nvSpPr>
        <p:spPr>
          <a:xfrm>
            <a:off x="467544" y="3219941"/>
            <a:ext cx="80648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/>
            </a:r>
            <a:br>
              <a:rPr kumimoji="0" lang="pl-PL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endParaRPr kumimoji="0" lang="pl-PL" sz="1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230177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971600" y="1985832"/>
            <a:ext cx="69127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1200"/>
              </a:spcAft>
            </a:pPr>
            <a:r>
              <a:rPr lang="pl-PL" sz="4800" b="1" dirty="0">
                <a:solidFill>
                  <a:srgbClr val="FFFFFF"/>
                </a:solidFill>
              </a:rPr>
              <a:t>Dziękuję za uwagę </a:t>
            </a:r>
          </a:p>
        </p:txBody>
      </p:sp>
      <p:pic>
        <p:nvPicPr>
          <p:cNvPr id="7" name="Obraz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16531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95536" y="404664"/>
            <a:ext cx="7992888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dirty="0"/>
              <a:t>Do Jednostki Regionalnej KSOW Województwa Łódzkiego wpłynęło </a:t>
            </a:r>
          </a:p>
          <a:p>
            <a:pPr algn="just">
              <a:lnSpc>
                <a:spcPct val="150000"/>
              </a:lnSpc>
            </a:pPr>
            <a:r>
              <a:rPr lang="pl-PL" b="1" dirty="0"/>
              <a:t>14 wniosków</a:t>
            </a:r>
            <a:r>
              <a:rPr lang="pl-PL" dirty="0"/>
              <a:t>, </a:t>
            </a:r>
            <a:r>
              <a:rPr lang="pl-PL" dirty="0" smtClean="0"/>
              <a:t>złożonych </a:t>
            </a:r>
            <a:r>
              <a:rPr lang="pl-PL" dirty="0"/>
              <a:t>przez </a:t>
            </a:r>
            <a:r>
              <a:rPr lang="pl-PL" b="1" dirty="0"/>
              <a:t>10 różnych partnerów </a:t>
            </a:r>
            <a:endParaRPr lang="pl-PL" b="1" dirty="0" smtClean="0"/>
          </a:p>
          <a:p>
            <a:pPr algn="just">
              <a:lnSpc>
                <a:spcPct val="150000"/>
              </a:lnSpc>
            </a:pPr>
            <a:r>
              <a:rPr lang="pl-PL" dirty="0" smtClean="0"/>
              <a:t>na </a:t>
            </a:r>
            <a:r>
              <a:rPr lang="pl-PL" dirty="0"/>
              <a:t>łączną kwotę </a:t>
            </a:r>
            <a:r>
              <a:rPr lang="pl-PL" b="1" dirty="0"/>
              <a:t>776 416,04 zł</a:t>
            </a:r>
            <a:r>
              <a:rPr lang="pl-PL" dirty="0"/>
              <a:t>. </a:t>
            </a:r>
          </a:p>
          <a:p>
            <a:endParaRPr lang="pl-PL" dirty="0" smtClean="0"/>
          </a:p>
          <a:p>
            <a:endParaRPr lang="pl-PL" dirty="0"/>
          </a:p>
          <a:p>
            <a:r>
              <a:rPr lang="pl-PL" dirty="0" smtClean="0"/>
              <a:t>Zaplanowane </a:t>
            </a:r>
            <a:r>
              <a:rPr lang="pl-PL" dirty="0"/>
              <a:t>przez Partnerów </a:t>
            </a:r>
          </a:p>
          <a:p>
            <a:r>
              <a:rPr lang="pl-PL" dirty="0"/>
              <a:t>operacje obejmowały:</a:t>
            </a:r>
          </a:p>
        </p:txBody>
      </p:sp>
      <p:graphicFrame>
        <p:nvGraphicFramePr>
          <p:cNvPr id="7" name="Wykres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312500"/>
              </p:ext>
            </p:extLst>
          </p:nvPr>
        </p:nvGraphicFramePr>
        <p:xfrm>
          <a:off x="3779912" y="1556792"/>
          <a:ext cx="4463533" cy="4131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4051632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362" y="192093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/>
          <p:cNvSpPr/>
          <p:nvPr/>
        </p:nvSpPr>
        <p:spPr>
          <a:xfrm>
            <a:off x="1000211" y="1628800"/>
            <a:ext cx="70966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000" b="1" i="0" u="none" strike="noStrike" kern="1200" cap="none" spc="0" normalizeH="0" baseline="0" noProof="0" dirty="0">
                <a:ln>
                  <a:noFill/>
                </a:ln>
                <a:solidFill>
                  <a:srgbClr val="DA1C5C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chemat postępowania od ogłoszenia o naborze do wypłaty środkó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94708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78533" y="476672"/>
            <a:ext cx="84249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l-PL" b="1" dirty="0">
              <a:solidFill>
                <a:srgbClr val="FF0000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146701358"/>
              </p:ext>
            </p:extLst>
          </p:nvPr>
        </p:nvGraphicFramePr>
        <p:xfrm>
          <a:off x="378534" y="404664"/>
          <a:ext cx="8369930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534050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Prostokąt 9"/>
          <p:cNvSpPr/>
          <p:nvPr/>
        </p:nvSpPr>
        <p:spPr>
          <a:xfrm>
            <a:off x="899592" y="908720"/>
            <a:ext cx="76328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altLang="pl-PL" b="1" dirty="0" smtClean="0">
                <a:latin typeface="Arial" panose="020B0604020202020204" pitchFamily="34" charset="0"/>
                <a:cs typeface="Arial" panose="020B0604020202020204" pitchFamily="34" charset="0"/>
              </a:rPr>
              <a:t>Kryteria </a:t>
            </a:r>
            <a:r>
              <a:rPr lang="pl-PL" altLang="pl-PL" b="1" dirty="0">
                <a:latin typeface="Arial" panose="020B0604020202020204" pitchFamily="34" charset="0"/>
                <a:cs typeface="Arial" panose="020B0604020202020204" pitchFamily="34" charset="0"/>
              </a:rPr>
              <a:t>wyboru </a:t>
            </a:r>
            <a:r>
              <a:rPr lang="pl-PL" altLang="pl-PL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cji – obligatoryjne</a:t>
            </a:r>
            <a:endParaRPr lang="pl-P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50832" y="1412776"/>
            <a:ext cx="8469640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Grupa docelowa operacji została prawidłowo zidentyfikowana biorąc pod uwagę cel, zakres 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przewidywane efekty realizacji operacji – 1 pkt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alt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Forma realizacji operacji jest adekwatna do celu operacji, zakresu 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przewidywanych efektów realizacji operacji – 1 pkt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alt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Przewidywane efekty realizacji operacji są zgodne z celem KSOW 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działaniem planu działania wskazanymi we wniosku o wybór operacji oraz został opisany przewidywany wpływ jej realizacji na rozwój obszarów wiejskich – 1 pkt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l-PL" alt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Co najmniej 85% zaplanowanych kosztów realizacji operacji ujętych 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zestawieniu 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zeczowo-finansowym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zostało uzasadnionych pod względem ich zgodności z zakresem operacji, niezbędności do osiągnięcia jej celu i racjonalności – 1 pkt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alt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50832" y="466008"/>
            <a:ext cx="81389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dirty="0"/>
              <a:t>Komisja dokonała formalnej i merytorycznej oceny wniosków i ich uzupełnień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583069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Prostokąt 9"/>
          <p:cNvSpPr/>
          <p:nvPr/>
        </p:nvSpPr>
        <p:spPr>
          <a:xfrm>
            <a:off x="899591" y="404664"/>
            <a:ext cx="76328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altLang="pl-PL" b="1" dirty="0" smtClean="0">
                <a:latin typeface="Arial" panose="020B0604020202020204" pitchFamily="34" charset="0"/>
                <a:cs typeface="Arial" panose="020B0604020202020204" pitchFamily="34" charset="0"/>
              </a:rPr>
              <a:t>Kryteria wyboru operacji – fakultatywne </a:t>
            </a:r>
            <a:endParaRPr lang="pl-P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95536" y="1090471"/>
            <a:ext cx="8496944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alt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Co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najmniej połowę grupy docelowej operacji stanowią osoby do 35 roku życia mieszkające na obszarach wiejskich – 2 pkt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pl-PL" alt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dział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dodatkowych partnerów KSOW w realizacji operacji – w realizacji operacji będzie brać udział:</a:t>
            </a:r>
          </a:p>
          <a:p>
            <a:pPr algn="just">
              <a:lnSpc>
                <a:spcPct val="150000"/>
              </a:lnSpc>
            </a:pP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a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) co najmniej trzech dodatkowych Partnerów KSOW – 3 pkt,</a:t>
            </a:r>
          </a:p>
          <a:p>
            <a:pPr algn="just">
              <a:lnSpc>
                <a:spcPct val="150000"/>
              </a:lnSpc>
            </a:pP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b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) dwóch dodatkowych Partnerów KSOW – 2 pkt,</a:t>
            </a:r>
          </a:p>
          <a:p>
            <a:pPr algn="just">
              <a:lnSpc>
                <a:spcPct val="150000"/>
              </a:lnSpc>
            </a:pP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c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) jeden dodatkowy Partner KSOW – 1 pkt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pl-PL" alt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Partner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KSOW, który złożył wniosek o wybór operacji, lub co najmniej jeden 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z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dodatkowych partnerów KSOW biorących udział w realizacji operacji zrealizował co najmniej jedną operację porównywalną pod względem zakresu, wartości, grupy docelowej lub formy realizacji – 2 pkt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pl-PL" alt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Partner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KSOW, który złożył wniosek o wybór operacji, lub co najmniej jeden z dodatkowych partnerów KSOW biorących udział w realizacji operacji zadeklarował i uzasadnił wykorzystanie wkładu  własnego  w  realizacji operacji  w  wysokości  co  najmniej  10%  w  stosunku  do zaplanowanych kosztów realizacji operacji, zawartych w załączniku nr 1 do wniosku </a:t>
            </a:r>
            <a:r>
              <a:rPr lang="pl-PL" alt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– Zestawienie </a:t>
            </a:r>
            <a:r>
              <a:rPr lang="pl-PL" altLang="pl-PL" sz="1400" dirty="0">
                <a:latin typeface="Arial" panose="020B0604020202020204" pitchFamily="34" charset="0"/>
                <a:cs typeface="Arial" panose="020B0604020202020204" pitchFamily="34" charset="0"/>
              </a:rPr>
              <a:t>rzeczowo-finansowe operacji – 2 pk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055944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lvl="0" algn="ctr"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</a:t>
            </a:r>
            <a:r>
              <a:rPr lang="pl-PL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mach Schematu II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Prostokąt 9"/>
          <p:cNvSpPr/>
          <p:nvPr/>
        </p:nvSpPr>
        <p:spPr>
          <a:xfrm>
            <a:off x="899591" y="539388"/>
            <a:ext cx="76328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altLang="pl-PL" b="1" dirty="0">
                <a:latin typeface="Arial" panose="020B0604020202020204" pitchFamily="34" charset="0"/>
                <a:cs typeface="Arial" panose="020B0604020202020204" pitchFamily="34" charset="0"/>
              </a:rPr>
              <a:t>Kryteria </a:t>
            </a:r>
            <a:r>
              <a:rPr lang="pl-PL" altLang="pl-PL" b="1" dirty="0" smtClean="0">
                <a:latin typeface="Arial" panose="020B0604020202020204" pitchFamily="34" charset="0"/>
                <a:cs typeface="Arial" panose="020B0604020202020204" pitchFamily="34" charset="0"/>
              </a:rPr>
              <a:t>tematyczne </a:t>
            </a:r>
            <a:endParaRPr lang="pl-PL" altLang="pl-PL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588100" y="1090472"/>
            <a:ext cx="79208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endParaRPr lang="pl-PL" altLang="pl-PL" dirty="0">
              <a:latin typeface="+mj-lt"/>
              <a:cs typeface="Times New Roman" pitchFamily="18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3528" y="1077992"/>
            <a:ext cx="8568952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ktywizacja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mieszkańców obszarów wiejskich w celu tworzenia partnerstw na rzecz realizacji projektów nakierowanych na rozwój tych obszarów, w skład których wchodzą przedstawiciele sektora publicznego, sektora prywatnego oraz organizacji pozarządowych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– 2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pkt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powszechnianie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wiedzy w zakresie tworzenia krótkich łańcuchów dostaw w rozumieniu art.  2  ust. 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 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akapit  drugi  lit.  m  rozporządzenia  nr 1305/2013  w  sektorze  rolno-spożywczym – 2 pkt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powszechnianie 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wiedzy  w  zakresie systemów jakości żywności, 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których mowa w art.16 ust. 1 lit. a lub b rozporządzenia nr 1305/2013 – 2 pkt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powszechnianie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wiedzy w zakresie optymalizacji wykorzystywania przez mieszkańców obszarów wiejskich zasobów środowiska naturalnego – 2 pkt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50000"/>
              </a:lnSpc>
              <a:defRPr/>
            </a:pPr>
            <a:r>
              <a:rPr lang="pl-P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powszechnianie </a:t>
            </a:r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wiedzy w zakresie dotyczącym zachowania różnorodności genetycznej roślin lub zwierząt – 2 pkt</a:t>
            </a:r>
            <a:r>
              <a:rPr lang="pl-P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269548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akiet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48</TotalTime>
  <Words>4985</Words>
  <Application>Microsoft Office PowerPoint</Application>
  <PresentationFormat>Pokaz na ekranie (4:3)</PresentationFormat>
  <Paragraphs>422</Paragraphs>
  <Slides>39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44</vt:i4>
      </vt:variant>
      <vt:variant>
        <vt:lpstr>Tytuły slajdów</vt:lpstr>
      </vt:variant>
      <vt:variant>
        <vt:i4>39</vt:i4>
      </vt:variant>
    </vt:vector>
  </HeadingPairs>
  <TitlesOfParts>
    <vt:vector size="89" baseType="lpstr">
      <vt:lpstr>Arial</vt:lpstr>
      <vt:lpstr>Calibri</vt:lpstr>
      <vt:lpstr>Gabriola</vt:lpstr>
      <vt:lpstr>Segoe UI</vt:lpstr>
      <vt:lpstr>Tahoma</vt:lpstr>
      <vt:lpstr>Times New Roman</vt:lpstr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Projekt domyślny</vt:lpstr>
      <vt:lpstr>7_zielony</vt:lpstr>
      <vt:lpstr>28_czerwony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Magdalena Kochanowska</cp:lastModifiedBy>
  <cp:revision>371</cp:revision>
  <cp:lastPrinted>2018-05-18T10:44:48Z</cp:lastPrinted>
  <dcterms:created xsi:type="dcterms:W3CDTF">2013-04-03T19:48:29Z</dcterms:created>
  <dcterms:modified xsi:type="dcterms:W3CDTF">2018-05-18T11:04:00Z</dcterms:modified>
</cp:coreProperties>
</file>